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6"/>
  </p:notesMasterIdLst>
  <p:sldIdLst>
    <p:sldId id="2598" r:id="rId2"/>
    <p:sldId id="2607" r:id="rId3"/>
    <p:sldId id="431" r:id="rId4"/>
    <p:sldId id="2610" r:id="rId5"/>
    <p:sldId id="2609" r:id="rId6"/>
    <p:sldId id="436" r:id="rId7"/>
    <p:sldId id="437" r:id="rId8"/>
    <p:sldId id="438" r:id="rId9"/>
    <p:sldId id="439" r:id="rId10"/>
    <p:sldId id="2594" r:id="rId11"/>
    <p:sldId id="448" r:id="rId12"/>
    <p:sldId id="440" r:id="rId13"/>
    <p:sldId id="441" r:id="rId14"/>
    <p:sldId id="442" r:id="rId15"/>
    <p:sldId id="405" r:id="rId16"/>
    <p:sldId id="451" r:id="rId17"/>
    <p:sldId id="2583" r:id="rId18"/>
    <p:sldId id="2582" r:id="rId19"/>
    <p:sldId id="2611" r:id="rId20"/>
    <p:sldId id="2586" r:id="rId21"/>
    <p:sldId id="2585" r:id="rId22"/>
    <p:sldId id="2579" r:id="rId23"/>
    <p:sldId id="454" r:id="rId24"/>
    <p:sldId id="2593" r:id="rId25"/>
  </p:sldIdLst>
  <p:sldSz cx="12192000" cy="6858000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folien" id="{3E6C9EF1-D882-4C55-A08F-244A762B696A}">
          <p14:sldIdLst>
            <p14:sldId id="2598"/>
          </p14:sldIdLst>
        </p14:section>
        <p14:section name="Agenda" id="{96DF2114-22F9-480E-B180-4B3B8C1FF9A2}">
          <p14:sldIdLst>
            <p14:sldId id="2607"/>
          </p14:sldIdLst>
        </p14:section>
        <p14:section name="Textfolien" id="{32261FCD-A1CF-421E-AAD7-61F8B72BFF9D}">
          <p14:sldIdLst>
            <p14:sldId id="431"/>
            <p14:sldId id="2610"/>
            <p14:sldId id="2609"/>
            <p14:sldId id="436"/>
            <p14:sldId id="437"/>
            <p14:sldId id="438"/>
            <p14:sldId id="439"/>
            <p14:sldId id="2594"/>
            <p14:sldId id="448"/>
            <p14:sldId id="440"/>
            <p14:sldId id="441"/>
            <p14:sldId id="442"/>
            <p14:sldId id="405"/>
            <p14:sldId id="451"/>
            <p14:sldId id="2583"/>
          </p14:sldIdLst>
        </p14:section>
        <p14:section name="Kapitel- und Trennfolien" id="{99029A6D-700D-42A0-9429-367479711E3C}">
          <p14:sldIdLst>
            <p14:sldId id="2582"/>
            <p14:sldId id="2611"/>
            <p14:sldId id="2586"/>
            <p14:sldId id="2585"/>
            <p14:sldId id="2579"/>
            <p14:sldId id="454"/>
          </p14:sldIdLst>
        </p14:section>
        <p14:section name="Schlussfolien" id="{70B6E138-C28E-4A5D-AAB7-7C10B7242A6D}">
          <p14:sldIdLst>
            <p14:sldId id="259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D007C"/>
    <a:srgbClr val="80C535"/>
    <a:srgbClr val="E7B457"/>
    <a:srgbClr val="47DAF7"/>
    <a:srgbClr val="B1B50B"/>
    <a:srgbClr val="9A9A16"/>
    <a:srgbClr val="59A798"/>
    <a:srgbClr val="969696"/>
    <a:srgbClr val="C8C8C8"/>
    <a:srgbClr val="50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0B7C33E-B3DF-4F67-93CD-F8DFB2F92803}">
  <a:tblStyle styleId="{90B7C33E-B3DF-4F67-93CD-F8DFB2F92803}" styleName="Uni Augsburg Table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band1H>
    <a:band2H>
      <a:tcStyle>
        <a:tcBdr>
          <a:top>
            <a:ln w="0" cmpd="sng">
              <a:solidFill>
                <a:schemeClr val="accent1"/>
              </a:solidFill>
            </a:ln>
          </a:top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accent1">
              <a:tint val="30000"/>
            </a:schemeClr>
          </a:solidFill>
        </a:fill>
      </a:tcStyle>
    </a:band2H>
    <a:band1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lt1"/>
          </a:solidFill>
        </a:fill>
      </a:tcStyle>
    </a:band1V>
    <a:band2V>
      <a:tcStyle>
        <a:tcBdr>
          <a:left>
            <a:ln w="0" cmpd="sng">
              <a:solidFill>
                <a:schemeClr val="accent1"/>
              </a:solidFill>
            </a:ln>
          </a:left>
          <a:right>
            <a:ln w="0" cmpd="sng">
              <a:solidFill>
                <a:schemeClr val="accent1"/>
              </a:solidFill>
            </a:ln>
          </a:right>
        </a:tcBdr>
        <a:fill>
          <a:solidFill>
            <a:schemeClr val="accent1">
              <a:tint val="30000"/>
            </a:schemeClr>
          </a:solidFill>
        </a:fill>
      </a:tcStyle>
    </a:band2V>
    <a:la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>
              <a:lumMod val="75000"/>
            </a:schemeClr>
          </a:solidFill>
        </a:fill>
      </a:tcStyle>
    </a:lastCol>
    <a:firstCol>
      <a:tcTxStyle b="off">
        <a:fontRef idx="minor">
          <a:prstClr val="black"/>
        </a:fontRef>
        <a:schemeClr val="lt1"/>
      </a:tcTxStyle>
      <a:tcStyle>
        <a:tcBdr>
          <a:insideH>
            <a:ln w="6350" cmpd="sng">
              <a:solidFill>
                <a:schemeClr val="dk2">
                  <a:tint val="30000"/>
                </a:schemeClr>
              </a:solidFill>
            </a:ln>
          </a:insideH>
        </a:tcBdr>
        <a:fill>
          <a:solidFill>
            <a:schemeClr val="dk2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>
          <a:top>
            <a:ln w="6350" cmpd="sng">
              <a:solidFill>
                <a:schemeClr val="dk2">
                  <a:tint val="30000"/>
                </a:schemeClr>
              </a:solidFill>
            </a:ln>
          </a:top>
          <a:insideV>
            <a:ln w="6350" cmpd="sng">
              <a:solidFill>
                <a:schemeClr val="dk2">
                  <a:tint val="30000"/>
                </a:schemeClr>
              </a:solidFill>
            </a:ln>
          </a:insideV>
        </a:tcBdr>
        <a:fill>
          <a:solidFill>
            <a:schemeClr val="dk2">
              <a:lumMod val="75000"/>
            </a:schemeClr>
          </a:solidFill>
        </a:fill>
      </a:tcStyle>
    </a:lastRow>
    <a:firstRow>
      <a:tcTxStyle b="off">
        <a:fontRef idx="minor">
          <a:prstClr val="black"/>
        </a:fontRef>
        <a:schemeClr val="lt1"/>
      </a:tcTxStyle>
      <a:tcStyle>
        <a:tcBdr>
          <a:bottom>
            <a:ln w="6350" cmpd="sng">
              <a:solidFill>
                <a:schemeClr val="dk2">
                  <a:tint val="40000"/>
                </a:schemeClr>
              </a:solidFill>
            </a:ln>
          </a:bottom>
          <a:insideV>
            <a:ln w="6350" cmpd="sng">
              <a:solidFill>
                <a:schemeClr val="dk2">
                  <a:tint val="40000"/>
                </a:schemeClr>
              </a:solidFill>
            </a:ln>
          </a:insideV>
        </a:tcBdr>
        <a:fill>
          <a:solidFill>
            <a:schemeClr val="dk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243" autoAdjust="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  <p:sld r:id="rId16" collapse="1"/>
      <p:sld r:id="rId17" collapse="1"/>
      <p:sld r:id="rId18" collapse="1"/>
      <p:sld r:id="rId19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12.xml"/><Relationship Id="rId13" Type="http://schemas.openxmlformats.org/officeDocument/2006/relationships/slide" Target="slides/slide17.xml"/><Relationship Id="rId18" Type="http://schemas.openxmlformats.org/officeDocument/2006/relationships/slide" Target="slides/slide22.xml"/><Relationship Id="rId3" Type="http://schemas.openxmlformats.org/officeDocument/2006/relationships/slide" Target="slides/slide6.xml"/><Relationship Id="rId7" Type="http://schemas.openxmlformats.org/officeDocument/2006/relationships/slide" Target="slides/slide11.xml"/><Relationship Id="rId12" Type="http://schemas.openxmlformats.org/officeDocument/2006/relationships/slide" Target="slides/slide16.xml"/><Relationship Id="rId17" Type="http://schemas.openxmlformats.org/officeDocument/2006/relationships/slide" Target="slides/slide21.xml"/><Relationship Id="rId2" Type="http://schemas.openxmlformats.org/officeDocument/2006/relationships/slide" Target="slides/slide3.xml"/><Relationship Id="rId16" Type="http://schemas.openxmlformats.org/officeDocument/2006/relationships/slide" Target="slides/slide20.xml"/><Relationship Id="rId1" Type="http://schemas.openxmlformats.org/officeDocument/2006/relationships/slide" Target="slides/slide1.xml"/><Relationship Id="rId6" Type="http://schemas.openxmlformats.org/officeDocument/2006/relationships/slide" Target="slides/slide9.xml"/><Relationship Id="rId11" Type="http://schemas.openxmlformats.org/officeDocument/2006/relationships/slide" Target="slides/slide15.xml"/><Relationship Id="rId5" Type="http://schemas.openxmlformats.org/officeDocument/2006/relationships/slide" Target="slides/slide8.xml"/><Relationship Id="rId15" Type="http://schemas.openxmlformats.org/officeDocument/2006/relationships/slide" Target="slides/slide19.xml"/><Relationship Id="rId10" Type="http://schemas.openxmlformats.org/officeDocument/2006/relationships/slide" Target="slides/slide14.xml"/><Relationship Id="rId19" Type="http://schemas.openxmlformats.org/officeDocument/2006/relationships/slide" Target="slides/slide23.xml"/><Relationship Id="rId4" Type="http://schemas.openxmlformats.org/officeDocument/2006/relationships/slide" Target="slides/slide7.xml"/><Relationship Id="rId9" Type="http://schemas.openxmlformats.org/officeDocument/2006/relationships/slide" Target="slides/slide13.xml"/><Relationship Id="rId14" Type="http://schemas.openxmlformats.org/officeDocument/2006/relationships/slide" Target="slides/slide1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dirty="0"/>
              <a:t>Diagrammtitel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28B-4887-A793-12D3992BE20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28B-4887-A793-12D3992BE20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8B-4887-A793-12D3992BE202}"/>
              </c:ext>
            </c:extLst>
          </c:dPt>
          <c:dPt>
            <c:idx val="3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28B-4887-A793-12D3992BE202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828B-4887-A793-12D3992BE2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28B-4887-A793-12D3992BE2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48F-48D4-9E9D-97377ACB007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48F-48D4-9E9D-97377ACB007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CCD-4066-813E-75D2D9EED032}"/>
              </c:ext>
            </c:extLst>
          </c:dPt>
          <c:dPt>
            <c:idx val="3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ACCD-4066-813E-75D2D9EED032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CCD-4066-813E-75D2D9EED03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CD-4066-813E-75D2D9EED0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AE3-4D2B-A6CE-D4FB3DB02BB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AE3-4D2B-A6CE-D4FB3DB02BB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AE3-4D2B-A6CE-D4FB3DB02BB1}"/>
              </c:ext>
            </c:extLst>
          </c:dPt>
          <c:dPt>
            <c:idx val="3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AE3-4D2B-A6CE-D4FB3DB02BB1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EAE3-4D2B-A6CE-D4FB3DB02B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AE3-4D2B-A6CE-D4FB3DB02B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9AABD0E-3101-4564-9EFF-B3BBF32EA978}" type="datetimeFigureOut">
              <a:rPr lang="de-DE" smtClean="0"/>
              <a:pPr/>
              <a:t>13.01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A06E4F-8004-4186-852A-627D056050B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3011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EE4EC5F-563F-40D7-BF90-104230A53F2C}"/>
              </a:ext>
            </a:extLst>
          </p:cNvPr>
          <p:cNvSpPr>
            <a:spLocks noGrp="1" noMove="1" noResize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1" y="0"/>
            <a:ext cx="12192000" cy="6858000"/>
          </a:xfrm>
          <a:solidFill>
            <a:schemeClr val="accent3"/>
          </a:solidFill>
        </p:spPr>
        <p:txBody>
          <a:bodyPr anchor="ctr"/>
          <a:lstStyle>
            <a:lvl1pPr algn="l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2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784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3098D400-4FAC-4905-8C59-0E75C77468D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530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B27D7517-1F80-4410-A024-467AAECFD14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186601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BBA34017-76D9-4ACE-A80A-C4B588141EC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8920200" y="1674000"/>
            <a:ext cx="2552400" cy="4644001"/>
          </a:xfrm>
          <a:ln w="6350">
            <a:noFill/>
          </a:ln>
        </p:spPr>
        <p:txBody>
          <a:bodyPr lIns="0" tIns="0" rIns="0" bIns="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255E67-0CE1-4D27-BC06-DE752AE0041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1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3030E-913B-4F84-A866-3D4050755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1" y="1674000"/>
            <a:ext cx="5196001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D75CB9-FB12-4938-AECC-FDD65377DB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7800" y="1674000"/>
            <a:ext cx="5194800" cy="540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E19CF50-D445-433B-8DB3-6D9D2A48B3B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7298EEE-A916-45ED-8E8C-5A99A2CDD1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2A635F8-28ED-4745-BBF2-D3265A40AF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EE80AB-FF50-477F-94E4-815F7D8EF286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9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plus 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C78BD95-A5F9-4798-A3D3-6E0EC108E17C}"/>
              </a:ext>
            </a:extLst>
          </p:cNvPr>
          <p:cNvSpPr/>
          <p:nvPr userDrawn="1"/>
        </p:nvSpPr>
        <p:spPr>
          <a:xfrm>
            <a:off x="719401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226B967-CF45-45AF-9D6F-CA94823B3B27}"/>
              </a:ext>
            </a:extLst>
          </p:cNvPr>
          <p:cNvSpPr/>
          <p:nvPr userDrawn="1"/>
        </p:nvSpPr>
        <p:spPr>
          <a:xfrm>
            <a:off x="6277200" y="1674000"/>
            <a:ext cx="5196001" cy="4739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62D486-4C6B-4174-9F45-23C4D32D42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9400" y="2277375"/>
            <a:ext cx="5196001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F85BD4D-9B6C-40C6-B62A-F48962F211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7800" y="2277375"/>
            <a:ext cx="5194800" cy="40406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3302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0" name="Additionszeichen 9">
            <a:extLst>
              <a:ext uri="{FF2B5EF4-FFF2-40B4-BE49-F238E27FC236}">
                <a16:creationId xmlns:a16="http://schemas.microsoft.com/office/drawing/2014/main" id="{CFE04C63-67E3-4BE5-81AF-4847CD8DBC29}"/>
              </a:ext>
            </a:extLst>
          </p:cNvPr>
          <p:cNvSpPr/>
          <p:nvPr userDrawn="1"/>
        </p:nvSpPr>
        <p:spPr>
          <a:xfrm>
            <a:off x="3131862" y="1725451"/>
            <a:ext cx="371078" cy="371076"/>
          </a:xfrm>
          <a:prstGeom prst="mathPlus">
            <a:avLst>
              <a:gd name="adj1" fmla="val 905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BDE7D3A-3B28-4B14-9BF1-785A2019FF30}"/>
              </a:ext>
            </a:extLst>
          </p:cNvPr>
          <p:cNvSpPr/>
          <p:nvPr userDrawn="1"/>
        </p:nvSpPr>
        <p:spPr>
          <a:xfrm>
            <a:off x="8741076" y="1892989"/>
            <a:ext cx="26825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523A05-811E-4945-9F1C-12DC138DD8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FED06E-0A66-4F07-9CE4-29F9EC589F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9BF6DF-0067-4F7F-8F10-9523911AC1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E265618-1F87-4DA1-A332-E47A9EFDCFEC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419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7467D8C-1C63-4813-85D1-3AB8DCF20D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3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3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51948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083DABCB-9098-4FFE-9D2A-D32B7B91FE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77800" y="1674000"/>
            <a:ext cx="5194800" cy="803326"/>
          </a:xfrm>
          <a:custGeom>
            <a:avLst/>
            <a:gdLst>
              <a:gd name="connsiteX0" fmla="*/ 0 w 5194800"/>
              <a:gd name="connsiteY0" fmla="*/ 0 h 803326"/>
              <a:gd name="connsiteX1" fmla="*/ 5194800 w 5194800"/>
              <a:gd name="connsiteY1" fmla="*/ 0 h 803326"/>
              <a:gd name="connsiteX2" fmla="*/ 5194800 w 5194800"/>
              <a:gd name="connsiteY2" fmla="*/ 539148 h 803326"/>
              <a:gd name="connsiteX3" fmla="*/ 2812152 w 5194800"/>
              <a:gd name="connsiteY3" fmla="*/ 539148 h 803326"/>
              <a:gd name="connsiteX4" fmla="*/ 2389379 w 5194800"/>
              <a:gd name="connsiteY4" fmla="*/ 803326 h 803326"/>
              <a:gd name="connsiteX5" fmla="*/ 2382646 w 5194800"/>
              <a:gd name="connsiteY5" fmla="*/ 803326 h 803326"/>
              <a:gd name="connsiteX6" fmla="*/ 2382646 w 5194800"/>
              <a:gd name="connsiteY6" fmla="*/ 539148 h 803326"/>
              <a:gd name="connsiteX7" fmla="*/ 0 w 51948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4800" h="803326">
                <a:moveTo>
                  <a:pt x="0" y="0"/>
                </a:moveTo>
                <a:lnTo>
                  <a:pt x="5194800" y="0"/>
                </a:lnTo>
                <a:lnTo>
                  <a:pt x="5194800" y="539148"/>
                </a:lnTo>
                <a:lnTo>
                  <a:pt x="2812152" y="539148"/>
                </a:lnTo>
                <a:lnTo>
                  <a:pt x="2389379" y="803326"/>
                </a:lnTo>
                <a:lnTo>
                  <a:pt x="2382646" y="803326"/>
                </a:lnTo>
                <a:lnTo>
                  <a:pt x="23826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236D5C00-747E-44BB-AD34-A28F6169D4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7800" y="2213148"/>
            <a:ext cx="5194800" cy="4104853"/>
          </a:xfrm>
          <a:custGeom>
            <a:avLst/>
            <a:gdLst>
              <a:gd name="connsiteX0" fmla="*/ 0 w 5194800"/>
              <a:gd name="connsiteY0" fmla="*/ 0 h 4104853"/>
              <a:gd name="connsiteX1" fmla="*/ 5194800 w 5194800"/>
              <a:gd name="connsiteY1" fmla="*/ 0 h 4104853"/>
              <a:gd name="connsiteX2" fmla="*/ 5194800 w 5194800"/>
              <a:gd name="connsiteY2" fmla="*/ 3787601 h 4104853"/>
              <a:gd name="connsiteX3" fmla="*/ 4687090 w 5194800"/>
              <a:gd name="connsiteY3" fmla="*/ 4104853 h 4104853"/>
              <a:gd name="connsiteX4" fmla="*/ 0 w 51948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104853">
                <a:moveTo>
                  <a:pt x="0" y="0"/>
                </a:moveTo>
                <a:lnTo>
                  <a:pt x="5194800" y="0"/>
                </a:lnTo>
                <a:lnTo>
                  <a:pt x="5194800" y="3787601"/>
                </a:lnTo>
                <a:lnTo>
                  <a:pt x="46870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51461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0894B22-1FDE-45F2-A56B-B18FD9C66B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CEFB671-3706-4C04-BB20-9103BC8E1A3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38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3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3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CA64BCA-A541-4E79-ADD7-A9FFBB926F5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3800" y="2213148"/>
            <a:ext cx="3344400" cy="4104853"/>
          </a:xfrm>
          <a:ln w="6350">
            <a:solidFill>
              <a:schemeClr val="tx2"/>
            </a:solidFill>
          </a:ln>
        </p:spPr>
        <p:txBody>
          <a:bodyPr lIns="144000" tIns="396000" rIns="144000" bIns="14400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5058D37-68E1-4A82-B808-35764CBE5B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28200" y="2213148"/>
            <a:ext cx="3344400" cy="4104853"/>
          </a:xfrm>
          <a:custGeom>
            <a:avLst/>
            <a:gdLst>
              <a:gd name="connsiteX0" fmla="*/ 0 w 3344400"/>
              <a:gd name="connsiteY0" fmla="*/ 0 h 4104853"/>
              <a:gd name="connsiteX1" fmla="*/ 3344400 w 3344400"/>
              <a:gd name="connsiteY1" fmla="*/ 0 h 4104853"/>
              <a:gd name="connsiteX2" fmla="*/ 3344400 w 3344400"/>
              <a:gd name="connsiteY2" fmla="*/ 3787601 h 4104853"/>
              <a:gd name="connsiteX3" fmla="*/ 2836690 w 3344400"/>
              <a:gd name="connsiteY3" fmla="*/ 4104853 h 4104853"/>
              <a:gd name="connsiteX4" fmla="*/ 0 w 3344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44400" h="4104853">
                <a:moveTo>
                  <a:pt x="0" y="0"/>
                </a:moveTo>
                <a:lnTo>
                  <a:pt x="3344400" y="0"/>
                </a:lnTo>
                <a:lnTo>
                  <a:pt x="3344400" y="3787601"/>
                </a:lnTo>
                <a:lnTo>
                  <a:pt x="2836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144000" tIns="396000" rIns="144000" bIns="144000"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8F5B8E2-5AE2-44E5-9AFF-6E7ED94CEB5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8200" y="1674000"/>
            <a:ext cx="3344400" cy="803326"/>
          </a:xfrm>
          <a:custGeom>
            <a:avLst/>
            <a:gdLst>
              <a:gd name="connsiteX0" fmla="*/ 0 w 3344400"/>
              <a:gd name="connsiteY0" fmla="*/ 0 h 803326"/>
              <a:gd name="connsiteX1" fmla="*/ 3344400 w 3344400"/>
              <a:gd name="connsiteY1" fmla="*/ 0 h 803326"/>
              <a:gd name="connsiteX2" fmla="*/ 3344400 w 3344400"/>
              <a:gd name="connsiteY2" fmla="*/ 539148 h 803326"/>
              <a:gd name="connsiteX3" fmla="*/ 1886952 w 3344400"/>
              <a:gd name="connsiteY3" fmla="*/ 539148 h 803326"/>
              <a:gd name="connsiteX4" fmla="*/ 1464179 w 3344400"/>
              <a:gd name="connsiteY4" fmla="*/ 803326 h 803326"/>
              <a:gd name="connsiteX5" fmla="*/ 1457446 w 3344400"/>
              <a:gd name="connsiteY5" fmla="*/ 803326 h 803326"/>
              <a:gd name="connsiteX6" fmla="*/ 1457446 w 3344400"/>
              <a:gd name="connsiteY6" fmla="*/ 539148 h 803326"/>
              <a:gd name="connsiteX7" fmla="*/ 0 w 3344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4400" h="803326">
                <a:moveTo>
                  <a:pt x="0" y="0"/>
                </a:moveTo>
                <a:lnTo>
                  <a:pt x="3344400" y="0"/>
                </a:lnTo>
                <a:lnTo>
                  <a:pt x="3344400" y="539148"/>
                </a:lnTo>
                <a:lnTo>
                  <a:pt x="1886952" y="539148"/>
                </a:lnTo>
                <a:lnTo>
                  <a:pt x="1464179" y="803326"/>
                </a:lnTo>
                <a:lnTo>
                  <a:pt x="1457446" y="803326"/>
                </a:lnTo>
                <a:lnTo>
                  <a:pt x="1457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1594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99E68-FCA5-45BD-AA6A-D20276C88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31E40C9-C853-4E3D-81EA-DA71294816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32F316-5AD2-4726-A27F-702737DF4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4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D028CCBC-2A9F-44A4-BB88-539AC3757C0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A29CF9-95D5-43B1-B756-C4CA77D986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D41350-61B1-4CD7-AF2C-4EC0AC90ECA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9D6EFE-92AC-45FD-BA1F-9CAAB3E5EF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3EF69D7-FE34-4036-A7D9-85751A45EB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127C8F9-E39C-48E0-B578-007D9E2BD2E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530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305EFEFA-64B4-47B4-B733-1B7CA515EC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530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185DFD-9DF1-4A8F-870D-F0572E5D0F8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866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FA45D731-A6C5-431A-A8B1-28864968451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600" y="2213148"/>
            <a:ext cx="2552400" cy="4104853"/>
          </a:xfrm>
          <a:ln w="6350">
            <a:solidFill>
              <a:schemeClr val="tx2"/>
            </a:solidFill>
          </a:ln>
        </p:spPr>
        <p:txBody>
          <a:bodyPr lIns="90000" tIns="396000" rIns="90000" bIns="90000"/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2631360-5D42-4685-83FF-AA8BF842A66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20200" y="1674000"/>
            <a:ext cx="2552400" cy="803326"/>
          </a:xfrm>
          <a:custGeom>
            <a:avLst/>
            <a:gdLst>
              <a:gd name="connsiteX0" fmla="*/ 0 w 2552400"/>
              <a:gd name="connsiteY0" fmla="*/ 0 h 803326"/>
              <a:gd name="connsiteX1" fmla="*/ 2552400 w 2552400"/>
              <a:gd name="connsiteY1" fmla="*/ 0 h 803326"/>
              <a:gd name="connsiteX2" fmla="*/ 2552400 w 2552400"/>
              <a:gd name="connsiteY2" fmla="*/ 539148 h 803326"/>
              <a:gd name="connsiteX3" fmla="*/ 1490953 w 2552400"/>
              <a:gd name="connsiteY3" fmla="*/ 539148 h 803326"/>
              <a:gd name="connsiteX4" fmla="*/ 1068179 w 2552400"/>
              <a:gd name="connsiteY4" fmla="*/ 803326 h 803326"/>
              <a:gd name="connsiteX5" fmla="*/ 1061446 w 2552400"/>
              <a:gd name="connsiteY5" fmla="*/ 803326 h 803326"/>
              <a:gd name="connsiteX6" fmla="*/ 1061446 w 2552400"/>
              <a:gd name="connsiteY6" fmla="*/ 539148 h 803326"/>
              <a:gd name="connsiteX7" fmla="*/ 0 w 2552400"/>
              <a:gd name="connsiteY7" fmla="*/ 539148 h 803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52400" h="803326">
                <a:moveTo>
                  <a:pt x="0" y="0"/>
                </a:moveTo>
                <a:lnTo>
                  <a:pt x="2552400" y="0"/>
                </a:lnTo>
                <a:lnTo>
                  <a:pt x="2552400" y="539148"/>
                </a:lnTo>
                <a:lnTo>
                  <a:pt x="1490953" y="539148"/>
                </a:lnTo>
                <a:lnTo>
                  <a:pt x="1068179" y="803326"/>
                </a:lnTo>
                <a:lnTo>
                  <a:pt x="1061446" y="803326"/>
                </a:lnTo>
                <a:lnTo>
                  <a:pt x="1061446" y="539148"/>
                </a:lnTo>
                <a:lnTo>
                  <a:pt x="0" y="539148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wrap="square" lIns="36000" tIns="0" rIns="36000" bIns="234000" anchor="ctr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F256FFD-2237-4B88-AEEC-8D8B62C897A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20200" y="2213148"/>
            <a:ext cx="2552400" cy="4104853"/>
          </a:xfrm>
          <a:custGeom>
            <a:avLst/>
            <a:gdLst>
              <a:gd name="connsiteX0" fmla="*/ 0 w 2552400"/>
              <a:gd name="connsiteY0" fmla="*/ 0 h 4104853"/>
              <a:gd name="connsiteX1" fmla="*/ 2552400 w 2552400"/>
              <a:gd name="connsiteY1" fmla="*/ 0 h 4104853"/>
              <a:gd name="connsiteX2" fmla="*/ 2552400 w 2552400"/>
              <a:gd name="connsiteY2" fmla="*/ 3787601 h 4104853"/>
              <a:gd name="connsiteX3" fmla="*/ 2044690 w 2552400"/>
              <a:gd name="connsiteY3" fmla="*/ 4104853 h 4104853"/>
              <a:gd name="connsiteX4" fmla="*/ 0 w 2552400"/>
              <a:gd name="connsiteY4" fmla="*/ 4104853 h 4104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400" h="4104853">
                <a:moveTo>
                  <a:pt x="0" y="0"/>
                </a:moveTo>
                <a:lnTo>
                  <a:pt x="2552400" y="0"/>
                </a:lnTo>
                <a:lnTo>
                  <a:pt x="2552400" y="3787601"/>
                </a:lnTo>
                <a:lnTo>
                  <a:pt x="2044690" y="4104853"/>
                </a:lnTo>
                <a:lnTo>
                  <a:pt x="0" y="4104853"/>
                </a:lnTo>
                <a:close/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90000" tIns="396000" rIns="90000" bIns="90000">
            <a:noAutofit/>
          </a:bodyPr>
          <a:lstStyle>
            <a:lvl1pPr>
              <a:defRPr sz="1400"/>
            </a:lvl1pPr>
            <a:lvl2pPr marL="180000" indent="-180000">
              <a:spcBef>
                <a:spcPts val="600"/>
              </a:spcBef>
              <a:defRPr sz="1400"/>
            </a:lvl2pPr>
            <a:lvl3pPr marL="360000" indent="-180000">
              <a:spcBef>
                <a:spcPts val="400"/>
              </a:spcBef>
              <a:defRPr sz="1200"/>
            </a:lvl3pPr>
            <a:lvl4pPr marL="504000" indent="-144000">
              <a:spcBef>
                <a:spcPts val="300"/>
              </a:spcBef>
              <a:defRPr sz="1000"/>
            </a:lvl4pPr>
            <a:lvl5pPr>
              <a:spcBef>
                <a:spcPts val="18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086016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F70A4-ADFE-4708-AB33-8886E4CC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63F26D-D1E9-44DB-B332-96FEC35D8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15C926-F79F-46C4-91E5-DDEEE6952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2E96900-E160-4F15-8F4F-93A7E009E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1ECD767-9C3B-4102-881D-A5FAB539895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721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36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250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1D252A2-F584-4876-A9E7-3A56CDE1456F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12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Netzwerk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853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409322-67A6-4F12-8D72-41A3B5B662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7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42447BE-7F68-43E3-BEF7-C04C0F292080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709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 2/3 Bild mit BU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33444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80E40-62C1-4523-9326-8905454D49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BA002C-DFE9-450A-A2B3-C70BC48F66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8F5DD0-C562-4452-8B55-8B7571D56C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C391855-DEE4-4776-816F-9FDFE9169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23800" y="1674000"/>
            <a:ext cx="7048800" cy="4644000"/>
          </a:xfrm>
          <a:custGeom>
            <a:avLst/>
            <a:gdLst>
              <a:gd name="connsiteX0" fmla="*/ 0 w 7048800"/>
              <a:gd name="connsiteY0" fmla="*/ 0 h 4644000"/>
              <a:gd name="connsiteX1" fmla="*/ 7048800 w 7048800"/>
              <a:gd name="connsiteY1" fmla="*/ 0 h 4644000"/>
              <a:gd name="connsiteX2" fmla="*/ 7048800 w 7048800"/>
              <a:gd name="connsiteY2" fmla="*/ 4326749 h 4644000"/>
              <a:gd name="connsiteX3" fmla="*/ 6541092 w 7048800"/>
              <a:gd name="connsiteY3" fmla="*/ 4644000 h 4644000"/>
              <a:gd name="connsiteX4" fmla="*/ 0 w 7048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800" h="4644000">
                <a:moveTo>
                  <a:pt x="0" y="0"/>
                </a:moveTo>
                <a:lnTo>
                  <a:pt x="7048800" y="0"/>
                </a:lnTo>
                <a:lnTo>
                  <a:pt x="7048800" y="4326749"/>
                </a:lnTo>
                <a:lnTo>
                  <a:pt x="6541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29A14761-D380-48F1-9D44-45AF488797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3800" y="4416666"/>
            <a:ext cx="1974701" cy="1406166"/>
          </a:xfrm>
          <a:solidFill>
            <a:schemeClr val="tx2">
              <a:alpha val="90000"/>
            </a:schemeClr>
          </a:solidFill>
        </p:spPr>
        <p:txBody>
          <a:bodyPr lIns="90000" tIns="90000" rIns="90000" bIns="90000"/>
          <a:lstStyle>
            <a:lvl1pPr>
              <a:spcBef>
                <a:spcPts val="60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97DD6B2-6BB6-4B54-8072-153E6ED7B9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859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47C337E-B2E8-42BE-BB79-EB136C890B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7800" y="1674000"/>
            <a:ext cx="5194800" cy="4644000"/>
          </a:xfrm>
          <a:custGeom>
            <a:avLst/>
            <a:gdLst>
              <a:gd name="connsiteX0" fmla="*/ 0 w 5194800"/>
              <a:gd name="connsiteY0" fmla="*/ 0 h 4644000"/>
              <a:gd name="connsiteX1" fmla="*/ 5194800 w 5194800"/>
              <a:gd name="connsiteY1" fmla="*/ 0 h 4644000"/>
              <a:gd name="connsiteX2" fmla="*/ 5194800 w 5194800"/>
              <a:gd name="connsiteY2" fmla="*/ 4326749 h 4644000"/>
              <a:gd name="connsiteX3" fmla="*/ 4687092 w 5194800"/>
              <a:gd name="connsiteY3" fmla="*/ 4644000 h 4644000"/>
              <a:gd name="connsiteX4" fmla="*/ 0 w 51948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4644000">
                <a:moveTo>
                  <a:pt x="0" y="0"/>
                </a:moveTo>
                <a:lnTo>
                  <a:pt x="5194800" y="0"/>
                </a:lnTo>
                <a:lnTo>
                  <a:pt x="5194800" y="4326749"/>
                </a:lnTo>
                <a:lnTo>
                  <a:pt x="46870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D5E979-B6F3-499F-86AC-9DA560B943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8" y="1674000"/>
            <a:ext cx="5196001" cy="4644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178660-43D6-417E-A41D-8A651FD3ED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77E495-745A-4917-9709-76F024A90B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D2E99-9111-4AFA-AFB3-76CD71D81FE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FC171BC-79AF-42BF-84CB-39D216F6E301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18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107531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501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A7627363-86CC-42A8-BCA4-3FEC0149CBB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18801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D709F6-5C2A-4BEF-B6DE-14B4B4FD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BD172E-DE29-4BCE-BE6D-314FDF43C13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412697-2000-4E1B-8173-9B9587CC95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CA2C21-3D87-4424-800F-176F6F5586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F021A6-4BB9-4550-AD43-5CAC345F42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F720E25-635C-49B5-8824-A82A5FC0672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iagrammplatzhalter 2">
            <a:extLst>
              <a:ext uri="{FF2B5EF4-FFF2-40B4-BE49-F238E27FC236}">
                <a16:creationId xmlns:a16="http://schemas.microsoft.com/office/drawing/2014/main" id="{40153406-C06B-40E8-99C7-229D0C6B031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75400" y="1673999"/>
            <a:ext cx="5196599" cy="464257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330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270BA7FE-E827-4D39-A048-D4CF86BD7DF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76599" y="1674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D99C89F3-D97E-408C-A5DF-94B7F7F3405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199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DBCAED4-2F76-438B-B283-1C960E7CC97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276599" y="4176000"/>
            <a:ext cx="5196600" cy="2142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72315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>
            <a:lvl2pPr marL="216000"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1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465D2CE-6830-4297-983E-F7B43985B9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1A0135-E140-476E-AC43-792A657BCC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C46EB0-769F-4170-83B7-93D805106DF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706C54-FF6D-4951-8C8B-40E294A9C4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CF9F49-EFAD-4ACD-99F6-79A884BC2C0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903F8E2B-6617-4DB7-991D-50B6D59596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902" y="1674000"/>
            <a:ext cx="2507101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685901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E52A4B2-180F-4635-9822-27508ECE4C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113E644-52D1-4A9A-821D-0ECCD9B110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5200" y="1674000"/>
            <a:ext cx="2507400" cy="4644000"/>
          </a:xfrm>
          <a:custGeom>
            <a:avLst/>
            <a:gdLst>
              <a:gd name="connsiteX0" fmla="*/ 0 w 2507400"/>
              <a:gd name="connsiteY0" fmla="*/ 0 h 4644000"/>
              <a:gd name="connsiteX1" fmla="*/ 2507400 w 2507400"/>
              <a:gd name="connsiteY1" fmla="*/ 0 h 4644000"/>
              <a:gd name="connsiteX2" fmla="*/ 2507400 w 2507400"/>
              <a:gd name="connsiteY2" fmla="*/ 4326749 h 4644000"/>
              <a:gd name="connsiteX3" fmla="*/ 1999692 w 2507400"/>
              <a:gd name="connsiteY3" fmla="*/ 4644000 h 4644000"/>
              <a:gd name="connsiteX4" fmla="*/ 0 w 2507400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7400" h="4644000">
                <a:moveTo>
                  <a:pt x="0" y="0"/>
                </a:moveTo>
                <a:lnTo>
                  <a:pt x="2507400" y="0"/>
                </a:lnTo>
                <a:lnTo>
                  <a:pt x="2507400" y="4326749"/>
                </a:lnTo>
                <a:lnTo>
                  <a:pt x="1999692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EA2C7DF6-8FA2-4912-8FF1-99CC9F4CBE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7800" y="4086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755965-1525-4E18-8617-459E33E24C0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3B74A0-6721-4460-9913-76B468D904E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6D6DB4-5088-4985-8544-351706B141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EFBBC7C-F6A5-4ED9-9C3D-5FC6ABA5562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24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 + 2 Bilder + Infobox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832642F-B323-49EE-872A-3130F83420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78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BB234F7-230F-4A75-81B8-34F8EDC64F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7800" y="4086000"/>
            <a:ext cx="5194800" cy="2232000"/>
          </a:xfrm>
          <a:custGeom>
            <a:avLst/>
            <a:gdLst>
              <a:gd name="connsiteX0" fmla="*/ 0 w 5194800"/>
              <a:gd name="connsiteY0" fmla="*/ 0 h 2232000"/>
              <a:gd name="connsiteX1" fmla="*/ 5194800 w 5194800"/>
              <a:gd name="connsiteY1" fmla="*/ 0 h 2232000"/>
              <a:gd name="connsiteX2" fmla="*/ 5194800 w 5194800"/>
              <a:gd name="connsiteY2" fmla="*/ 1914749 h 2232000"/>
              <a:gd name="connsiteX3" fmla="*/ 4687092 w 5194800"/>
              <a:gd name="connsiteY3" fmla="*/ 2232000 h 2232000"/>
              <a:gd name="connsiteX4" fmla="*/ 0 w 51948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4800" h="2232000">
                <a:moveTo>
                  <a:pt x="0" y="0"/>
                </a:moveTo>
                <a:lnTo>
                  <a:pt x="5194800" y="0"/>
                </a:lnTo>
                <a:lnTo>
                  <a:pt x="5194800" y="1914749"/>
                </a:lnTo>
                <a:lnTo>
                  <a:pt x="4687092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9C55D38B-F3F0-43B2-B18E-7740F748B16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65200" y="1674000"/>
            <a:ext cx="2507400" cy="2232000"/>
          </a:xfrm>
          <a:solidFill>
            <a:schemeClr val="accent3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2165AC-262C-4D41-9BBC-CEF1D222E5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C9CED4-1736-4B5F-9946-F16664B3DBC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743DCAA-570D-4D10-B77D-08C69D75AE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A81D4EE-867E-46FB-9F0B-6CF938274F3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355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4F5D212-7704-477C-BD10-3A0738406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5554" y="1673999"/>
            <a:ext cx="2760453" cy="3312069"/>
          </a:xfrm>
          <a:solidFill>
            <a:schemeClr val="tx2">
              <a:alpha val="90000"/>
            </a:schemeClr>
          </a:solidFill>
        </p:spPr>
        <p:txBody>
          <a:bodyPr lIns="144000" tIns="144000" rIns="144000" bIns="144000"/>
          <a:lstStyle>
            <a:lvl1pPr>
              <a:defRPr sz="140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Clr>
                <a:schemeClr val="bg1"/>
              </a:buClr>
              <a:buNone/>
              <a:defRPr sz="10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1FA84C09-E8D0-422A-8A0E-45EB49C1D259}"/>
              </a:ext>
            </a:extLst>
          </p:cNvPr>
          <p:cNvSpPr>
            <a:spLocks noGrp="1"/>
          </p:cNvSpPr>
          <p:nvPr>
            <p:ph type="subTitle" idx="19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3FDBBD4-A883-4636-B808-7CFF5AFDF03E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846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Dual 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5FA92F1-0E1F-49C5-80C9-3365CCE3A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25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E23F841-7E91-4E34-A0EC-B12AEE41B4E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52000">
                <a:schemeClr val="bg1">
                  <a:alpha val="40000"/>
                </a:schemeClr>
              </a:gs>
              <a:gs pos="0">
                <a:schemeClr val="bg1">
                  <a:alpha val="50000"/>
                </a:schemeClr>
              </a:gs>
              <a:gs pos="7000">
                <a:srgbClr val="FFFFFF">
                  <a:alpha val="0"/>
                </a:srgbClr>
              </a:gs>
              <a:gs pos="100000">
                <a:schemeClr val="bg1">
                  <a:alpha val="70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26E8387-66E3-42D5-9B71-7D928E60A71B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>
          <a:xfrm>
            <a:off x="5608325" y="0"/>
            <a:ext cx="5863676" cy="6003982"/>
          </a:xfrm>
          <a:custGeom>
            <a:avLst/>
            <a:gdLst>
              <a:gd name="connsiteX0" fmla="*/ 0 w 5863676"/>
              <a:gd name="connsiteY0" fmla="*/ 0 h 6003982"/>
              <a:gd name="connsiteX1" fmla="*/ 180000 w 5863676"/>
              <a:gd name="connsiteY1" fmla="*/ 0 h 6003982"/>
              <a:gd name="connsiteX2" fmla="*/ 5863676 w 5863676"/>
              <a:gd name="connsiteY2" fmla="*/ 0 h 6003982"/>
              <a:gd name="connsiteX3" fmla="*/ 5863676 w 5863676"/>
              <a:gd name="connsiteY3" fmla="*/ 276042 h 6003982"/>
              <a:gd name="connsiteX4" fmla="*/ 5863676 w 5863676"/>
              <a:gd name="connsiteY4" fmla="*/ 465826 h 6003982"/>
              <a:gd name="connsiteX5" fmla="*/ 5863676 w 5863676"/>
              <a:gd name="connsiteY5" fmla="*/ 5701857 h 6003982"/>
              <a:gd name="connsiteX6" fmla="*/ 5416799 w 5863676"/>
              <a:gd name="connsiteY6" fmla="*/ 6003982 h 6003982"/>
              <a:gd name="connsiteX7" fmla="*/ 180000 w 5863676"/>
              <a:gd name="connsiteY7" fmla="*/ 6003982 h 6003982"/>
              <a:gd name="connsiteX8" fmla="*/ 0 w 5863676"/>
              <a:gd name="connsiteY8" fmla="*/ 6003982 h 6003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63676" h="6003982">
                <a:moveTo>
                  <a:pt x="0" y="0"/>
                </a:moveTo>
                <a:lnTo>
                  <a:pt x="180000" y="0"/>
                </a:lnTo>
                <a:lnTo>
                  <a:pt x="5863676" y="0"/>
                </a:lnTo>
                <a:lnTo>
                  <a:pt x="5863676" y="276042"/>
                </a:lnTo>
                <a:lnTo>
                  <a:pt x="5863676" y="465826"/>
                </a:lnTo>
                <a:lnTo>
                  <a:pt x="5863676" y="5701857"/>
                </a:lnTo>
                <a:lnTo>
                  <a:pt x="5416799" y="6003982"/>
                </a:lnTo>
                <a:lnTo>
                  <a:pt x="180000" y="6003982"/>
                </a:lnTo>
                <a:lnTo>
                  <a:pt x="0" y="6003982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360000" tIns="360000" rIns="360000" bIns="2160000" anchor="b">
            <a:noAutofit/>
          </a:bodyPr>
          <a:lstStyle>
            <a:lvl1pPr algn="l"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29B57D8-F51B-45A5-ACE8-26EE7A2EA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8325" y="4050000"/>
            <a:ext cx="5863676" cy="1080000"/>
          </a:xfrm>
        </p:spPr>
        <p:txBody>
          <a:bodyPr lIns="360000" tIns="0" rIns="360000" bIns="0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7BF557-8C51-49A6-9373-E0E39B4EF9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255967" y="592157"/>
            <a:ext cx="1846250" cy="57417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</p:spTree>
    <p:extLst>
      <p:ext uri="{BB962C8B-B14F-4D97-AF65-F5344CB8AC3E}">
        <p14:creationId xmlns:p14="http://schemas.microsoft.com/office/powerpoint/2010/main" val="38575142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494D4-39E8-435A-920E-A5A5EB6D3C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801" y="1673999"/>
            <a:ext cx="10753199" cy="4642571"/>
          </a:xfrm>
          <a:custGeom>
            <a:avLst/>
            <a:gdLst>
              <a:gd name="connsiteX0" fmla="*/ 0 w 10753199"/>
              <a:gd name="connsiteY0" fmla="*/ 0 h 4642571"/>
              <a:gd name="connsiteX1" fmla="*/ 10753199 w 10753199"/>
              <a:gd name="connsiteY1" fmla="*/ 0 h 4642571"/>
              <a:gd name="connsiteX2" fmla="*/ 10753199 w 10753199"/>
              <a:gd name="connsiteY2" fmla="*/ 4327125 h 4642571"/>
              <a:gd name="connsiteX3" fmla="*/ 10248379 w 10753199"/>
              <a:gd name="connsiteY3" fmla="*/ 4642571 h 4642571"/>
              <a:gd name="connsiteX4" fmla="*/ 0 w 10753199"/>
              <a:gd name="connsiteY4" fmla="*/ 4642571 h 46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53199" h="4642571">
                <a:moveTo>
                  <a:pt x="0" y="0"/>
                </a:moveTo>
                <a:lnTo>
                  <a:pt x="10753199" y="0"/>
                </a:lnTo>
                <a:lnTo>
                  <a:pt x="10753199" y="4327125"/>
                </a:lnTo>
                <a:lnTo>
                  <a:pt x="10248379" y="4642571"/>
                </a:lnTo>
                <a:lnTo>
                  <a:pt x="0" y="464257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FAAB83-8DD6-4586-90E7-468060138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3B97C7-E1BE-4699-86A8-01DACF45BA4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233DD-E13C-4881-9F8D-7B2F6ECE99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C58736-60F0-446B-85EE-E8E3E9B87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58D452D6-202E-455D-8B61-543261859A4B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D26D293-9DBC-44A3-B743-50F9610A78E9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757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 und 1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82923280-06D4-4B6C-8212-53AA236789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9999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6816FC29-1284-4663-9755-B91A86845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6000" y="1673999"/>
            <a:ext cx="5286000" cy="2231289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BF2352AF-07ED-4DD6-AD34-CD15BCEF63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53000" y="1673999"/>
            <a:ext cx="25529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88937A17-6BFE-4447-9A70-9A79325025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999" y="4085290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1C03AA34-9E4A-4CE3-AC7C-F75EA79E7C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19499" y="4085291"/>
            <a:ext cx="3919499" cy="2231291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C2F2BAE-909F-472D-BE4F-96A79DA05A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9000" y="4085291"/>
            <a:ext cx="2552999" cy="2231291"/>
          </a:xfrm>
          <a:custGeom>
            <a:avLst/>
            <a:gdLst>
              <a:gd name="connsiteX0" fmla="*/ 0 w 2552999"/>
              <a:gd name="connsiteY0" fmla="*/ 0 h 2231291"/>
              <a:gd name="connsiteX1" fmla="*/ 2552999 w 2552999"/>
              <a:gd name="connsiteY1" fmla="*/ 0 h 2231291"/>
              <a:gd name="connsiteX2" fmla="*/ 2552999 w 2552999"/>
              <a:gd name="connsiteY2" fmla="*/ 1915834 h 2231291"/>
              <a:gd name="connsiteX3" fmla="*/ 2048161 w 2552999"/>
              <a:gd name="connsiteY3" fmla="*/ 2231291 h 2231291"/>
              <a:gd name="connsiteX4" fmla="*/ 0 w 2552999"/>
              <a:gd name="connsiteY4" fmla="*/ 2231291 h 223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2999" h="2231291">
                <a:moveTo>
                  <a:pt x="0" y="0"/>
                </a:moveTo>
                <a:lnTo>
                  <a:pt x="2552999" y="0"/>
                </a:lnTo>
                <a:lnTo>
                  <a:pt x="2552999" y="1915834"/>
                </a:lnTo>
                <a:lnTo>
                  <a:pt x="2048161" y="2231291"/>
                </a:lnTo>
                <a:lnTo>
                  <a:pt x="0" y="223129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93ABC32-9FE8-459D-ACCB-102523772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7E0EAD-D6B1-4816-B378-23892E83F8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D2D387-3FB6-4B0C-98E8-123EED79A0C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E2EB323-5D4B-44C9-8093-B68CFD3AF6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2F490B95-624C-4C01-B8CF-324AF2796124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D1EA23CB-DE6D-4F22-B14C-D08F0E16F2A4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083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9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532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7FD20DB8-649F-4F75-BDA2-47C449040C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5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2AE0353-0383-4E9B-84C9-6E8C1C24B1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19899" y="4086000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5 h 2232000"/>
              <a:gd name="connsiteX3" fmla="*/ 2044993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5"/>
                </a:lnTo>
                <a:lnTo>
                  <a:pt x="2044993" y="2232000"/>
                </a:lnTo>
                <a:lnTo>
                  <a:pt x="0" y="223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32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98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4C7506-1301-49C0-9C41-04D95085C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56F48A-94B2-4E68-8433-3D86488F261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230BD-CD3E-4D54-BA85-1FA6F5CCC1E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105B9E-F57E-42DF-A0F2-61A5FEC545C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CD1921EF-845A-4B83-94D5-07A0CE8FDCE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DCA848E7-92BD-42A2-8DB5-48C272EDDD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607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e mit j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D0B7CD6-F947-438A-AF64-88751730D8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9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7603677-00F0-456F-A684-0FCB6F47B8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532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18">
            <a:extLst>
              <a:ext uri="{FF2B5EF4-FFF2-40B4-BE49-F238E27FC236}">
                <a16:creationId xmlns:a16="http://schemas.microsoft.com/office/drawing/2014/main" id="{BA13482D-7FD6-46E0-8A6A-548C63908FC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6599" y="1674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C228099-C7FA-4BE1-8248-4821955EF01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19899" y="1674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794CEAF2-9F84-4B99-A8AF-ECE3AB5E57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9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B2BA3FFC-78EE-48EA-AE0C-300F956B98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53299" y="4086000"/>
            <a:ext cx="2553300" cy="2232000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FF9C62C6-AB76-491F-A58B-062EF89911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6599" y="4086000"/>
            <a:ext cx="2553300" cy="2232000"/>
          </a:xfrm>
          <a:solidFill>
            <a:schemeClr val="accent3"/>
          </a:solidFill>
        </p:spPr>
        <p:txBody>
          <a:bodyPr lIns="396000" tIns="144000" rIns="90000" bIns="3600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0064942-68BC-4E81-8583-6A45809713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19899" y="4085999"/>
            <a:ext cx="2553300" cy="2232000"/>
          </a:xfrm>
          <a:custGeom>
            <a:avLst/>
            <a:gdLst>
              <a:gd name="connsiteX0" fmla="*/ 0 w 2553300"/>
              <a:gd name="connsiteY0" fmla="*/ 0 h 2232000"/>
              <a:gd name="connsiteX1" fmla="*/ 2553300 w 2553300"/>
              <a:gd name="connsiteY1" fmla="*/ 0 h 2232000"/>
              <a:gd name="connsiteX2" fmla="*/ 2553300 w 2553300"/>
              <a:gd name="connsiteY2" fmla="*/ 1914376 h 2232000"/>
              <a:gd name="connsiteX3" fmla="*/ 2044994 w 2553300"/>
              <a:gd name="connsiteY3" fmla="*/ 2232000 h 2232000"/>
              <a:gd name="connsiteX4" fmla="*/ 0 w 2553300"/>
              <a:gd name="connsiteY4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3300" h="2232000">
                <a:moveTo>
                  <a:pt x="0" y="0"/>
                </a:moveTo>
                <a:lnTo>
                  <a:pt x="2553300" y="0"/>
                </a:lnTo>
                <a:lnTo>
                  <a:pt x="2553300" y="1914376"/>
                </a:lnTo>
                <a:lnTo>
                  <a:pt x="2044994" y="2232000"/>
                </a:lnTo>
                <a:lnTo>
                  <a:pt x="0" y="2232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EE9C679-81B2-4C00-9AD0-B24037728D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9998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67BFBE5B-6EF5-477E-8B16-D9DDC1B039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99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6" name="Textplatzhalter 23">
            <a:extLst>
              <a:ext uri="{FF2B5EF4-FFF2-40B4-BE49-F238E27FC236}">
                <a16:creationId xmlns:a16="http://schemas.microsoft.com/office/drawing/2014/main" id="{7E03E66F-9B22-44FD-82F9-97EA205FD8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599" y="1674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7" name="Textplatzhalter 23">
            <a:extLst>
              <a:ext uri="{FF2B5EF4-FFF2-40B4-BE49-F238E27FC236}">
                <a16:creationId xmlns:a16="http://schemas.microsoft.com/office/drawing/2014/main" id="{749543A4-338F-4532-A8F7-3C8053E065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86599" y="4086000"/>
            <a:ext cx="288000" cy="288000"/>
          </a:xfrm>
          <a:solidFill>
            <a:schemeClr val="tx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214A44-AF01-4C18-A48A-D60FB248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DBD298-EEC0-4FCE-AD3E-E0A71133EC0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31DBC6-4D2A-496E-902B-EFD874699C5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EB8BD6-E622-4B45-A236-19BF5A5D18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0863C9F9-60AE-4E82-86B7-ECB092C2DC9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1D178B3D-67C8-474D-B36E-39BB73685217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050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s unten Bild">
            <a:extLst>
              <a:ext uri="{FF2B5EF4-FFF2-40B4-BE49-F238E27FC236}">
                <a16:creationId xmlns:a16="http://schemas.microsoft.com/office/drawing/2014/main" id="{CD5FA5D3-D717-492A-A9A5-AAD003D3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18903" y="2347394"/>
            <a:ext cx="6354297" cy="3970606"/>
          </a:xfrm>
          <a:custGeom>
            <a:avLst/>
            <a:gdLst>
              <a:gd name="connsiteX0" fmla="*/ 6354297 w 6354297"/>
              <a:gd name="connsiteY0" fmla="*/ 0 h 3970606"/>
              <a:gd name="connsiteX1" fmla="*/ 6354297 w 6354297"/>
              <a:gd name="connsiteY1" fmla="*/ 3652981 h 3970606"/>
              <a:gd name="connsiteX2" fmla="*/ 5845990 w 6354297"/>
              <a:gd name="connsiteY2" fmla="*/ 3970606 h 3970606"/>
              <a:gd name="connsiteX3" fmla="*/ 0 w 6354297"/>
              <a:gd name="connsiteY3" fmla="*/ 3970606 h 397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54297" h="3970606">
                <a:moveTo>
                  <a:pt x="6354297" y="0"/>
                </a:moveTo>
                <a:lnTo>
                  <a:pt x="6354297" y="3652981"/>
                </a:lnTo>
                <a:lnTo>
                  <a:pt x="5845990" y="3970606"/>
                </a:lnTo>
                <a:lnTo>
                  <a:pt x="0" y="397060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0" name="rechts oben Bild">
            <a:extLst>
              <a:ext uri="{FF2B5EF4-FFF2-40B4-BE49-F238E27FC236}">
                <a16:creationId xmlns:a16="http://schemas.microsoft.com/office/drawing/2014/main" id="{6DFA7518-1C80-4796-BE44-D8184948C5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5202" y="1674000"/>
            <a:ext cx="4117998" cy="2182262"/>
          </a:xfrm>
          <a:custGeom>
            <a:avLst/>
            <a:gdLst>
              <a:gd name="connsiteX0" fmla="*/ 0 w 4117998"/>
              <a:gd name="connsiteY0" fmla="*/ 0 h 2182262"/>
              <a:gd name="connsiteX1" fmla="*/ 4117998 w 4117998"/>
              <a:gd name="connsiteY1" fmla="*/ 0 h 2182262"/>
              <a:gd name="connsiteX2" fmla="*/ 4117998 w 4117998"/>
              <a:gd name="connsiteY2" fmla="*/ 461141 h 2182262"/>
              <a:gd name="connsiteX3" fmla="*/ 1363628 w 4117998"/>
              <a:gd name="connsiteY3" fmla="*/ 2182262 h 218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7998" h="2182262">
                <a:moveTo>
                  <a:pt x="0" y="0"/>
                </a:moveTo>
                <a:lnTo>
                  <a:pt x="4117998" y="0"/>
                </a:lnTo>
                <a:lnTo>
                  <a:pt x="4117998" y="461141"/>
                </a:lnTo>
                <a:lnTo>
                  <a:pt x="1363628" y="218226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2" name="links großes Bild">
            <a:extLst>
              <a:ext uri="{FF2B5EF4-FFF2-40B4-BE49-F238E27FC236}">
                <a16:creationId xmlns:a16="http://schemas.microsoft.com/office/drawing/2014/main" id="{3250A4B0-2BD5-4E55-807B-8FC0F34662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0000" y="1674000"/>
            <a:ext cx="7846181" cy="4644000"/>
          </a:xfrm>
          <a:custGeom>
            <a:avLst/>
            <a:gdLst>
              <a:gd name="connsiteX0" fmla="*/ 0 w 7846181"/>
              <a:gd name="connsiteY0" fmla="*/ 0 h 4644000"/>
              <a:gd name="connsiteX1" fmla="*/ 6422949 w 7846181"/>
              <a:gd name="connsiteY1" fmla="*/ 0 h 4644000"/>
              <a:gd name="connsiteX2" fmla="*/ 7846181 w 7846181"/>
              <a:gd name="connsiteY2" fmla="*/ 2277649 h 4644000"/>
              <a:gd name="connsiteX3" fmla="*/ 4059228 w 7846181"/>
              <a:gd name="connsiteY3" fmla="*/ 4644000 h 4644000"/>
              <a:gd name="connsiteX4" fmla="*/ 0 w 7846181"/>
              <a:gd name="connsiteY4" fmla="*/ 4644000 h 46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6181" h="4644000">
                <a:moveTo>
                  <a:pt x="0" y="0"/>
                </a:moveTo>
                <a:lnTo>
                  <a:pt x="6422949" y="0"/>
                </a:lnTo>
                <a:lnTo>
                  <a:pt x="7846181" y="2277649"/>
                </a:lnTo>
                <a:lnTo>
                  <a:pt x="4059228" y="4644000"/>
                </a:lnTo>
                <a:lnTo>
                  <a:pt x="0" y="4644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826DC0-7673-4091-B8DF-1F0BF64D563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67E07C-4EF5-43E9-9B7B-40CF109326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583426-CEAE-4105-B68D-3BC46AA145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1B9E229-2EFA-41C6-8438-B43B0B52060A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169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CD9A9D8-D8C6-4003-B9E8-BD62D25DD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2000 w 12192000"/>
              <a:gd name="connsiteY3" fmla="*/ 6542543 h 6858000"/>
              <a:gd name="connsiteX4" fmla="*/ 11687162 w 12192000"/>
              <a:gd name="connsiteY4" fmla="*/ 6858000 h 6858000"/>
              <a:gd name="connsiteX5" fmla="*/ 1135092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2000" y="6542543"/>
                </a:lnTo>
                <a:lnTo>
                  <a:pt x="11687162" y="6858000"/>
                </a:lnTo>
                <a:lnTo>
                  <a:pt x="1135092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746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randlos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E41C75F-ABCF-4120-9997-79E41E476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72138" y="3635125"/>
            <a:ext cx="3700462" cy="2682875"/>
          </a:xfrm>
          <a:custGeom>
            <a:avLst/>
            <a:gdLst>
              <a:gd name="connsiteX0" fmla="*/ 0 w 3700462"/>
              <a:gd name="connsiteY0" fmla="*/ 0 h 2682875"/>
              <a:gd name="connsiteX1" fmla="*/ 3700462 w 3700462"/>
              <a:gd name="connsiteY1" fmla="*/ 0 h 2682875"/>
              <a:gd name="connsiteX2" fmla="*/ 3700462 w 3700462"/>
              <a:gd name="connsiteY2" fmla="*/ 2365624 h 2682875"/>
              <a:gd name="connsiteX3" fmla="*/ 3192754 w 3700462"/>
              <a:gd name="connsiteY3" fmla="*/ 2682875 h 2682875"/>
              <a:gd name="connsiteX4" fmla="*/ 0 w 3700462"/>
              <a:gd name="connsiteY4" fmla="*/ 2682875 h 268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0462" h="2682875">
                <a:moveTo>
                  <a:pt x="0" y="0"/>
                </a:moveTo>
                <a:lnTo>
                  <a:pt x="3700462" y="0"/>
                </a:lnTo>
                <a:lnTo>
                  <a:pt x="3700462" y="2365624"/>
                </a:lnTo>
                <a:lnTo>
                  <a:pt x="3192754" y="2682875"/>
                </a:lnTo>
                <a:lnTo>
                  <a:pt x="0" y="2682875"/>
                </a:ln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44000" tIns="216000" rIns="144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97497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Zitat farbig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B88B8D8-3758-4D29-BFC4-10E8CA86532D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016924 h 6858000"/>
              <a:gd name="connsiteX3" fmla="*/ 12191999 w 12192000"/>
              <a:gd name="connsiteY3" fmla="*/ 6016924 h 6858000"/>
              <a:gd name="connsiteX4" fmla="*/ 12191999 w 12192000"/>
              <a:gd name="connsiteY4" fmla="*/ 6542543 h 6858000"/>
              <a:gd name="connsiteX5" fmla="*/ 11687161 w 12192000"/>
              <a:gd name="connsiteY5" fmla="*/ 6858000 h 6858000"/>
              <a:gd name="connsiteX6" fmla="*/ 11350922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016924"/>
                </a:lnTo>
                <a:lnTo>
                  <a:pt x="12191999" y="6016924"/>
                </a:lnTo>
                <a:lnTo>
                  <a:pt x="12191999" y="6542543"/>
                </a:lnTo>
                <a:lnTo>
                  <a:pt x="11687161" y="6858000"/>
                </a:lnTo>
                <a:lnTo>
                  <a:pt x="1135092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D7FE2-23D0-4E6B-BBBD-6ED33EF01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000" y="674688"/>
            <a:ext cx="7094537" cy="5508625"/>
          </a:xfrm>
        </p:spPr>
        <p:txBody>
          <a:bodyPr/>
          <a:lstStyle>
            <a:lvl1pPr>
              <a:defRPr sz="45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89842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C41C5038-CFF1-4F38-9317-76B31675F4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363456" cy="6858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038655-7059-4575-A4F1-5B3CA3E24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60524" y="1854748"/>
            <a:ext cx="3531476" cy="3090041"/>
          </a:xfrm>
          <a:custGeom>
            <a:avLst/>
            <a:gdLst>
              <a:gd name="connsiteX0" fmla="*/ 0 w 3531476"/>
              <a:gd name="connsiteY0" fmla="*/ 0 h 3090041"/>
              <a:gd name="connsiteX1" fmla="*/ 3531476 w 3531476"/>
              <a:gd name="connsiteY1" fmla="*/ 0 h 3090041"/>
              <a:gd name="connsiteX2" fmla="*/ 3531476 w 3531476"/>
              <a:gd name="connsiteY2" fmla="*/ 2779106 h 3090041"/>
              <a:gd name="connsiteX3" fmla="*/ 3033876 w 3531476"/>
              <a:gd name="connsiteY3" fmla="*/ 3090041 h 3090041"/>
              <a:gd name="connsiteX4" fmla="*/ 0 w 3531476"/>
              <a:gd name="connsiteY4" fmla="*/ 3090041 h 3090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1476" h="3090041">
                <a:moveTo>
                  <a:pt x="0" y="0"/>
                </a:moveTo>
                <a:lnTo>
                  <a:pt x="3531476" y="0"/>
                </a:lnTo>
                <a:lnTo>
                  <a:pt x="3531476" y="2779106"/>
                </a:lnTo>
                <a:lnTo>
                  <a:pt x="3033876" y="3090041"/>
                </a:lnTo>
                <a:lnTo>
                  <a:pt x="0" y="309004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360000" tIns="360000" rIns="144000" bIns="360000">
            <a:noAutofit/>
          </a:bodyPr>
          <a:lstStyle>
            <a:lvl1pPr>
              <a:defRPr sz="2500" cap="all" baseline="0">
                <a:solidFill>
                  <a:schemeClr val="bg1"/>
                </a:solidFill>
              </a:defRPr>
            </a:lvl1pPr>
            <a:lvl2pPr marL="0" indent="0"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68F79D-CB6A-4403-9205-FF4BE5DB4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048" y="1854748"/>
            <a:ext cx="3531476" cy="3090041"/>
          </a:xfrm>
          <a:solidFill>
            <a:schemeClr val="tx2">
              <a:alpha val="50000"/>
            </a:schemeClr>
          </a:solidFill>
        </p:spPr>
        <p:txBody>
          <a:bodyPr lIns="0" tIns="0" rIns="0" bIns="432000" anchor="b"/>
          <a:lstStyle>
            <a:lvl1pPr marL="0" algn="ctr">
              <a:defRPr sz="18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477505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3A21B8E-DB9A-4C1E-A79D-3A75A7C6832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38850" y="765175"/>
            <a:ext cx="5561013" cy="5324475"/>
          </a:xfrm>
          <a:custGeom>
            <a:avLst/>
            <a:gdLst>
              <a:gd name="connsiteX0" fmla="*/ 1513682 w 5561013"/>
              <a:gd name="connsiteY0" fmla="*/ 758515 h 5324475"/>
              <a:gd name="connsiteX1" fmla="*/ 1056580 w 5561013"/>
              <a:gd name="connsiteY1" fmla="*/ 2662238 h 5324475"/>
              <a:gd name="connsiteX2" fmla="*/ 1513682 w 5561013"/>
              <a:gd name="connsiteY2" fmla="*/ 4565961 h 5324475"/>
              <a:gd name="connsiteX3" fmla="*/ 1970784 w 5561013"/>
              <a:gd name="connsiteY3" fmla="*/ 2662238 h 5324475"/>
              <a:gd name="connsiteX4" fmla="*/ 1513682 w 5561013"/>
              <a:gd name="connsiteY4" fmla="*/ 758515 h 5324475"/>
              <a:gd name="connsiteX5" fmla="*/ 4556698 w 5561013"/>
              <a:gd name="connsiteY5" fmla="*/ 66675 h 5324475"/>
              <a:gd name="connsiteX6" fmla="*/ 5561013 w 5561013"/>
              <a:gd name="connsiteY6" fmla="*/ 66675 h 5324475"/>
              <a:gd name="connsiteX7" fmla="*/ 5561013 w 5561013"/>
              <a:gd name="connsiteY7" fmla="*/ 5257800 h 5324475"/>
              <a:gd name="connsiteX8" fmla="*/ 4429285 w 5561013"/>
              <a:gd name="connsiteY8" fmla="*/ 5257800 h 5324475"/>
              <a:gd name="connsiteX9" fmla="*/ 4429285 w 5561013"/>
              <a:gd name="connsiteY9" fmla="*/ 1264055 h 5324475"/>
              <a:gd name="connsiteX10" fmla="*/ 3544888 w 5561013"/>
              <a:gd name="connsiteY10" fmla="*/ 1844152 h 5324475"/>
              <a:gd name="connsiteX11" fmla="*/ 3544888 w 5561013"/>
              <a:gd name="connsiteY11" fmla="*/ 869886 h 5324475"/>
              <a:gd name="connsiteX12" fmla="*/ 4556698 w 5561013"/>
              <a:gd name="connsiteY12" fmla="*/ 66675 h 5324475"/>
              <a:gd name="connsiteX13" fmla="*/ 1513682 w 5561013"/>
              <a:gd name="connsiteY13" fmla="*/ 0 h 5324475"/>
              <a:gd name="connsiteX14" fmla="*/ 3027363 w 5561013"/>
              <a:gd name="connsiteY14" fmla="*/ 2647365 h 5324475"/>
              <a:gd name="connsiteX15" fmla="*/ 1513682 w 5561013"/>
              <a:gd name="connsiteY15" fmla="*/ 5324475 h 5324475"/>
              <a:gd name="connsiteX16" fmla="*/ 0 w 5561013"/>
              <a:gd name="connsiteY16" fmla="*/ 2647365 h 5324475"/>
              <a:gd name="connsiteX17" fmla="*/ 1513682 w 5561013"/>
              <a:gd name="connsiteY1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561013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556698" y="66675"/>
                </a:moveTo>
                <a:cubicBezTo>
                  <a:pt x="5561013" y="66675"/>
                  <a:pt x="5561013" y="66675"/>
                  <a:pt x="5561013" y="66675"/>
                </a:cubicBezTo>
                <a:cubicBezTo>
                  <a:pt x="5561013" y="5257800"/>
                  <a:pt x="5561013" y="5257800"/>
                  <a:pt x="5561013" y="5257800"/>
                </a:cubicBezTo>
                <a:cubicBezTo>
                  <a:pt x="4429285" y="5257800"/>
                  <a:pt x="4429285" y="5257800"/>
                  <a:pt x="4429285" y="5257800"/>
                </a:cubicBezTo>
                <a:cubicBezTo>
                  <a:pt x="4429285" y="1264055"/>
                  <a:pt x="4429285" y="1264055"/>
                  <a:pt x="4429285" y="1264055"/>
                </a:cubicBezTo>
                <a:cubicBezTo>
                  <a:pt x="4159469" y="1487169"/>
                  <a:pt x="3852178" y="1680535"/>
                  <a:pt x="3544888" y="1844152"/>
                </a:cubicBezTo>
                <a:lnTo>
                  <a:pt x="3544888" y="869886"/>
                </a:lnTo>
                <a:cubicBezTo>
                  <a:pt x="3919632" y="661647"/>
                  <a:pt x="4286882" y="416221"/>
                  <a:pt x="4556698" y="66675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992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555087"/>
            <a:ext cx="3701122" cy="1501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4E56867-90E5-495D-A049-FF9011ED98AE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682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FCFBDDB-1C1B-4C6C-B5A9-DF9D9A5050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0812" y="765175"/>
            <a:ext cx="6369050" cy="5324475"/>
          </a:xfrm>
          <a:custGeom>
            <a:avLst/>
            <a:gdLst>
              <a:gd name="connsiteX0" fmla="*/ 1513681 w 6369050"/>
              <a:gd name="connsiteY0" fmla="*/ 758515 h 5324475"/>
              <a:gd name="connsiteX1" fmla="*/ 1056579 w 6369050"/>
              <a:gd name="connsiteY1" fmla="*/ 2662238 h 5324475"/>
              <a:gd name="connsiteX2" fmla="*/ 1513681 w 6369050"/>
              <a:gd name="connsiteY2" fmla="*/ 4565961 h 5324475"/>
              <a:gd name="connsiteX3" fmla="*/ 1970783 w 6369050"/>
              <a:gd name="connsiteY3" fmla="*/ 2662238 h 5324475"/>
              <a:gd name="connsiteX4" fmla="*/ 1513681 w 6369050"/>
              <a:gd name="connsiteY4" fmla="*/ 758515 h 5324475"/>
              <a:gd name="connsiteX5" fmla="*/ 4788092 w 6369050"/>
              <a:gd name="connsiteY5" fmla="*/ 0 h 5324475"/>
              <a:gd name="connsiteX6" fmla="*/ 6316601 w 6369050"/>
              <a:gd name="connsiteY6" fmla="*/ 1338620 h 5324475"/>
              <a:gd name="connsiteX7" fmla="*/ 4375994 w 6369050"/>
              <a:gd name="connsiteY7" fmla="*/ 4454629 h 5324475"/>
              <a:gd name="connsiteX8" fmla="*/ 6369050 w 6369050"/>
              <a:gd name="connsiteY8" fmla="*/ 4454629 h 5324475"/>
              <a:gd name="connsiteX9" fmla="*/ 6369050 w 6369050"/>
              <a:gd name="connsiteY9" fmla="*/ 5257800 h 5324475"/>
              <a:gd name="connsiteX10" fmla="*/ 3267075 w 6369050"/>
              <a:gd name="connsiteY10" fmla="*/ 5257800 h 5324475"/>
              <a:gd name="connsiteX11" fmla="*/ 3267075 w 6369050"/>
              <a:gd name="connsiteY11" fmla="*/ 4343077 h 5324475"/>
              <a:gd name="connsiteX12" fmla="*/ 5260131 w 6369050"/>
              <a:gd name="connsiteY12" fmla="*/ 1264252 h 5324475"/>
              <a:gd name="connsiteX13" fmla="*/ 4863019 w 6369050"/>
              <a:gd name="connsiteY13" fmla="*/ 758551 h 5324475"/>
              <a:gd name="connsiteX14" fmla="*/ 4405964 w 6369050"/>
              <a:gd name="connsiteY14" fmla="*/ 1502229 h 5324475"/>
              <a:gd name="connsiteX15" fmla="*/ 3349495 w 6369050"/>
              <a:gd name="connsiteY15" fmla="*/ 1502229 h 5324475"/>
              <a:gd name="connsiteX16" fmla="*/ 4788092 w 6369050"/>
              <a:gd name="connsiteY16" fmla="*/ 0 h 5324475"/>
              <a:gd name="connsiteX17" fmla="*/ 1513681 w 6369050"/>
              <a:gd name="connsiteY17" fmla="*/ 0 h 5324475"/>
              <a:gd name="connsiteX18" fmla="*/ 3027363 w 6369050"/>
              <a:gd name="connsiteY18" fmla="*/ 2647365 h 5324475"/>
              <a:gd name="connsiteX19" fmla="*/ 1513681 w 6369050"/>
              <a:gd name="connsiteY19" fmla="*/ 5324475 h 5324475"/>
              <a:gd name="connsiteX20" fmla="*/ 0 w 6369050"/>
              <a:gd name="connsiteY20" fmla="*/ 2647365 h 5324475"/>
              <a:gd name="connsiteX21" fmla="*/ 1513681 w 6369050"/>
              <a:gd name="connsiteY21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369050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90" y="758515"/>
                  <a:pt x="1513681" y="758515"/>
                </a:cubicBezTo>
                <a:close/>
                <a:moveTo>
                  <a:pt x="4788092" y="0"/>
                </a:moveTo>
                <a:cubicBezTo>
                  <a:pt x="5694707" y="0"/>
                  <a:pt x="6316601" y="364402"/>
                  <a:pt x="6316601" y="1338620"/>
                </a:cubicBezTo>
                <a:cubicBezTo>
                  <a:pt x="6316601" y="2506193"/>
                  <a:pt x="4945438" y="3829939"/>
                  <a:pt x="4375994" y="4454629"/>
                </a:cubicBezTo>
                <a:cubicBezTo>
                  <a:pt x="6369050" y="4454629"/>
                  <a:pt x="6369050" y="4454629"/>
                  <a:pt x="6369050" y="4454629"/>
                </a:cubicBezTo>
                <a:cubicBezTo>
                  <a:pt x="6369050" y="5257800"/>
                  <a:pt x="6369050" y="5257800"/>
                  <a:pt x="6369050" y="5257800"/>
                </a:cubicBezTo>
                <a:lnTo>
                  <a:pt x="3267075" y="5257800"/>
                </a:lnTo>
                <a:cubicBezTo>
                  <a:pt x="3267075" y="4343077"/>
                  <a:pt x="3267075" y="4343077"/>
                  <a:pt x="3267075" y="4343077"/>
                </a:cubicBezTo>
                <a:cubicBezTo>
                  <a:pt x="4915467" y="2164102"/>
                  <a:pt x="5260131" y="1911251"/>
                  <a:pt x="5260131" y="1264252"/>
                </a:cubicBezTo>
                <a:cubicBezTo>
                  <a:pt x="5260131" y="1003965"/>
                  <a:pt x="5162726" y="758551"/>
                  <a:pt x="4863019" y="758551"/>
                </a:cubicBezTo>
                <a:cubicBezTo>
                  <a:pt x="4428443" y="758551"/>
                  <a:pt x="4405964" y="1167574"/>
                  <a:pt x="4405964" y="1502229"/>
                </a:cubicBezTo>
                <a:cubicBezTo>
                  <a:pt x="3349495" y="1502229"/>
                  <a:pt x="3349495" y="1502229"/>
                  <a:pt x="3349495" y="1502229"/>
                </a:cubicBezTo>
                <a:cubicBezTo>
                  <a:pt x="3274568" y="535448"/>
                  <a:pt x="3821534" y="0"/>
                  <a:pt x="4788092" y="0"/>
                </a:cubicBezTo>
                <a:close/>
                <a:moveTo>
                  <a:pt x="1513681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884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4A7BACB7-0FFC-41F1-9652-1A1D53E188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5736" y="766763"/>
            <a:ext cx="6340475" cy="5324475"/>
          </a:xfrm>
          <a:custGeom>
            <a:avLst/>
            <a:gdLst>
              <a:gd name="connsiteX0" fmla="*/ 1513682 w 6340475"/>
              <a:gd name="connsiteY0" fmla="*/ 758515 h 5324475"/>
              <a:gd name="connsiteX1" fmla="*/ 1056580 w 6340475"/>
              <a:gd name="connsiteY1" fmla="*/ 2662238 h 5324475"/>
              <a:gd name="connsiteX2" fmla="*/ 1513682 w 6340475"/>
              <a:gd name="connsiteY2" fmla="*/ 4565961 h 5324475"/>
              <a:gd name="connsiteX3" fmla="*/ 1970784 w 6340475"/>
              <a:gd name="connsiteY3" fmla="*/ 2662238 h 5324475"/>
              <a:gd name="connsiteX4" fmla="*/ 1513682 w 6340475"/>
              <a:gd name="connsiteY4" fmla="*/ 758515 h 5324475"/>
              <a:gd name="connsiteX5" fmla="*/ 4826263 w 6340475"/>
              <a:gd name="connsiteY5" fmla="*/ 0 h 5324475"/>
              <a:gd name="connsiteX6" fmla="*/ 6258018 w 6340475"/>
              <a:gd name="connsiteY6" fmla="*/ 1383174 h 5324475"/>
              <a:gd name="connsiteX7" fmla="*/ 5545889 w 6340475"/>
              <a:gd name="connsiteY7" fmla="*/ 2535819 h 5324475"/>
              <a:gd name="connsiteX8" fmla="*/ 5545889 w 6340475"/>
              <a:gd name="connsiteY8" fmla="*/ 2550691 h 5324475"/>
              <a:gd name="connsiteX9" fmla="*/ 6340475 w 6340475"/>
              <a:gd name="connsiteY9" fmla="*/ 3814882 h 5324475"/>
              <a:gd name="connsiteX10" fmla="*/ 4706326 w 6340475"/>
              <a:gd name="connsiteY10" fmla="*/ 5324475 h 5324475"/>
              <a:gd name="connsiteX11" fmla="*/ 3267075 w 6340475"/>
              <a:gd name="connsiteY11" fmla="*/ 3852064 h 5324475"/>
              <a:gd name="connsiteX12" fmla="*/ 4324025 w 6340475"/>
              <a:gd name="connsiteY12" fmla="*/ 3852064 h 5324475"/>
              <a:gd name="connsiteX13" fmla="*/ 4766295 w 6340475"/>
              <a:gd name="connsiteY13" fmla="*/ 4565961 h 5324475"/>
              <a:gd name="connsiteX14" fmla="*/ 5283525 w 6340475"/>
              <a:gd name="connsiteY14" fmla="*/ 3762827 h 5324475"/>
              <a:gd name="connsiteX15" fmla="*/ 4301536 w 6340475"/>
              <a:gd name="connsiteY15" fmla="*/ 2967131 h 5324475"/>
              <a:gd name="connsiteX16" fmla="*/ 4301536 w 6340475"/>
              <a:gd name="connsiteY16" fmla="*/ 2141688 h 5324475"/>
              <a:gd name="connsiteX17" fmla="*/ 5201068 w 6340475"/>
              <a:gd name="connsiteY17" fmla="*/ 1375737 h 5324475"/>
              <a:gd name="connsiteX18" fmla="*/ 4796279 w 6340475"/>
              <a:gd name="connsiteY18" fmla="*/ 758515 h 5324475"/>
              <a:gd name="connsiteX19" fmla="*/ 4383993 w 6340475"/>
              <a:gd name="connsiteY19" fmla="*/ 1360865 h 5324475"/>
              <a:gd name="connsiteX20" fmla="*/ 3327044 w 6340475"/>
              <a:gd name="connsiteY20" fmla="*/ 1360865 h 5324475"/>
              <a:gd name="connsiteX21" fmla="*/ 3686856 w 6340475"/>
              <a:gd name="connsiteY21" fmla="*/ 275148 h 5324475"/>
              <a:gd name="connsiteX22" fmla="*/ 4826263 w 6340475"/>
              <a:gd name="connsiteY22" fmla="*/ 0 h 5324475"/>
              <a:gd name="connsiteX23" fmla="*/ 1513682 w 6340475"/>
              <a:gd name="connsiteY23" fmla="*/ 0 h 5324475"/>
              <a:gd name="connsiteX24" fmla="*/ 3027363 w 6340475"/>
              <a:gd name="connsiteY24" fmla="*/ 2647365 h 5324475"/>
              <a:gd name="connsiteX25" fmla="*/ 1513682 w 6340475"/>
              <a:gd name="connsiteY25" fmla="*/ 5324475 h 5324475"/>
              <a:gd name="connsiteX26" fmla="*/ 0 w 6340475"/>
              <a:gd name="connsiteY26" fmla="*/ 2647365 h 5324475"/>
              <a:gd name="connsiteX27" fmla="*/ 1513682 w 6340475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4047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26263" y="0"/>
                </a:moveTo>
                <a:cubicBezTo>
                  <a:pt x="5800756" y="0"/>
                  <a:pt x="6258018" y="394130"/>
                  <a:pt x="6258018" y="1383174"/>
                </a:cubicBezTo>
                <a:cubicBezTo>
                  <a:pt x="6258018" y="1873977"/>
                  <a:pt x="6115592" y="2454018"/>
                  <a:pt x="5545889" y="2535819"/>
                </a:cubicBezTo>
                <a:cubicBezTo>
                  <a:pt x="5545889" y="2550691"/>
                  <a:pt x="5545889" y="2550691"/>
                  <a:pt x="5545889" y="2550691"/>
                </a:cubicBezTo>
                <a:cubicBezTo>
                  <a:pt x="6228033" y="2677110"/>
                  <a:pt x="6340475" y="3212533"/>
                  <a:pt x="6340475" y="3814882"/>
                </a:cubicBezTo>
                <a:cubicBezTo>
                  <a:pt x="6340475" y="4885727"/>
                  <a:pt x="5763275" y="5324475"/>
                  <a:pt x="4706326" y="5324475"/>
                </a:cubicBezTo>
                <a:cubicBezTo>
                  <a:pt x="3671864" y="5324475"/>
                  <a:pt x="3267075" y="4960091"/>
                  <a:pt x="3267075" y="3852064"/>
                </a:cubicBezTo>
                <a:cubicBezTo>
                  <a:pt x="4324025" y="3852064"/>
                  <a:pt x="4324025" y="3852064"/>
                  <a:pt x="4324025" y="3852064"/>
                </a:cubicBezTo>
                <a:cubicBezTo>
                  <a:pt x="4324025" y="4194140"/>
                  <a:pt x="4309033" y="4565961"/>
                  <a:pt x="4766295" y="4565961"/>
                </a:cubicBezTo>
                <a:cubicBezTo>
                  <a:pt x="5246045" y="4565961"/>
                  <a:pt x="5283525" y="4127212"/>
                  <a:pt x="5283525" y="3762827"/>
                </a:cubicBezTo>
                <a:cubicBezTo>
                  <a:pt x="5283525" y="3011749"/>
                  <a:pt x="5036154" y="2967131"/>
                  <a:pt x="4301536" y="2967131"/>
                </a:cubicBezTo>
                <a:cubicBezTo>
                  <a:pt x="4301536" y="2141688"/>
                  <a:pt x="4301536" y="2141688"/>
                  <a:pt x="4301536" y="2141688"/>
                </a:cubicBezTo>
                <a:cubicBezTo>
                  <a:pt x="4991177" y="2171434"/>
                  <a:pt x="5201068" y="2097070"/>
                  <a:pt x="5201068" y="1375737"/>
                </a:cubicBezTo>
                <a:cubicBezTo>
                  <a:pt x="5201068" y="1093153"/>
                  <a:pt x="5156092" y="758515"/>
                  <a:pt x="4796279" y="758515"/>
                </a:cubicBezTo>
                <a:cubicBezTo>
                  <a:pt x="4413978" y="758515"/>
                  <a:pt x="4383993" y="1063408"/>
                  <a:pt x="4383993" y="1360865"/>
                </a:cubicBezTo>
                <a:lnTo>
                  <a:pt x="3327044" y="1360865"/>
                </a:lnTo>
                <a:cubicBezTo>
                  <a:pt x="3327044" y="825443"/>
                  <a:pt x="3446981" y="483367"/>
                  <a:pt x="3686856" y="275148"/>
                </a:cubicBezTo>
                <a:cubicBezTo>
                  <a:pt x="3926732" y="74364"/>
                  <a:pt x="4301536" y="0"/>
                  <a:pt x="4826263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algn="l"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27907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AutoShape 8">
            <a:extLst>
              <a:ext uri="{FF2B5EF4-FFF2-40B4-BE49-F238E27FC236}">
                <a16:creationId xmlns:a16="http://schemas.microsoft.com/office/drawing/2014/main" id="{CC3A3E53-F4B8-4831-8E8A-2BCF39C93BF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65763" y="768350"/>
            <a:ext cx="6396037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7686F10E-6BEB-4F49-9079-2FC10BB83F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62589" y="765175"/>
            <a:ext cx="6402387" cy="5324475"/>
          </a:xfrm>
          <a:custGeom>
            <a:avLst/>
            <a:gdLst>
              <a:gd name="connsiteX0" fmla="*/ 5102190 w 6402387"/>
              <a:gd name="connsiteY0" fmla="*/ 798690 h 5324475"/>
              <a:gd name="connsiteX1" fmla="*/ 4150460 w 6402387"/>
              <a:gd name="connsiteY1" fmla="*/ 3267821 h 5324475"/>
              <a:gd name="connsiteX2" fmla="*/ 4648806 w 6402387"/>
              <a:gd name="connsiteY2" fmla="*/ 3267821 h 5324475"/>
              <a:gd name="connsiteX3" fmla="*/ 5049732 w 6402387"/>
              <a:gd name="connsiteY3" fmla="*/ 3267821 h 5324475"/>
              <a:gd name="connsiteX4" fmla="*/ 5117177 w 6402387"/>
              <a:gd name="connsiteY4" fmla="*/ 798690 h 5324475"/>
              <a:gd name="connsiteX5" fmla="*/ 5102190 w 6402387"/>
              <a:gd name="connsiteY5" fmla="*/ 798690 h 5324475"/>
              <a:gd name="connsiteX6" fmla="*/ 1513681 w 6402387"/>
              <a:gd name="connsiteY6" fmla="*/ 758515 h 5324475"/>
              <a:gd name="connsiteX7" fmla="*/ 1056579 w 6402387"/>
              <a:gd name="connsiteY7" fmla="*/ 2662238 h 5324475"/>
              <a:gd name="connsiteX8" fmla="*/ 1513681 w 6402387"/>
              <a:gd name="connsiteY8" fmla="*/ 4565961 h 5324475"/>
              <a:gd name="connsiteX9" fmla="*/ 1970783 w 6402387"/>
              <a:gd name="connsiteY9" fmla="*/ 2662238 h 5324475"/>
              <a:gd name="connsiteX10" fmla="*/ 1513681 w 6402387"/>
              <a:gd name="connsiteY10" fmla="*/ 758515 h 5324475"/>
              <a:gd name="connsiteX11" fmla="*/ 4607590 w 6402387"/>
              <a:gd name="connsiteY11" fmla="*/ 69850 h 5324475"/>
              <a:gd name="connsiteX12" fmla="*/ 5997714 w 6402387"/>
              <a:gd name="connsiteY12" fmla="*/ 69850 h 5324475"/>
              <a:gd name="connsiteX13" fmla="*/ 5997714 w 6402387"/>
              <a:gd name="connsiteY13" fmla="*/ 3267821 h 5324475"/>
              <a:gd name="connsiteX14" fmla="*/ 6402387 w 6402387"/>
              <a:gd name="connsiteY14" fmla="*/ 3267821 h 5324475"/>
              <a:gd name="connsiteX15" fmla="*/ 6402387 w 6402387"/>
              <a:gd name="connsiteY15" fmla="*/ 4071032 h 5324475"/>
              <a:gd name="connsiteX16" fmla="*/ 5997714 w 6402387"/>
              <a:gd name="connsiteY16" fmla="*/ 4071032 h 5324475"/>
              <a:gd name="connsiteX17" fmla="*/ 5997714 w 6402387"/>
              <a:gd name="connsiteY17" fmla="*/ 5260975 h 5324475"/>
              <a:gd name="connsiteX18" fmla="*/ 4963552 w 6402387"/>
              <a:gd name="connsiteY18" fmla="*/ 5260975 h 5324475"/>
              <a:gd name="connsiteX19" fmla="*/ 4963552 w 6402387"/>
              <a:gd name="connsiteY19" fmla="*/ 4071032 h 5324475"/>
              <a:gd name="connsiteX20" fmla="*/ 4648806 w 6402387"/>
              <a:gd name="connsiteY20" fmla="*/ 4071032 h 5324475"/>
              <a:gd name="connsiteX21" fmla="*/ 3344862 w 6402387"/>
              <a:gd name="connsiteY21" fmla="*/ 4071032 h 5324475"/>
              <a:gd name="connsiteX22" fmla="*/ 3344862 w 6402387"/>
              <a:gd name="connsiteY22" fmla="*/ 3026114 h 5324475"/>
              <a:gd name="connsiteX23" fmla="*/ 4607590 w 6402387"/>
              <a:gd name="connsiteY23" fmla="*/ 69850 h 5324475"/>
              <a:gd name="connsiteX24" fmla="*/ 1513681 w 6402387"/>
              <a:gd name="connsiteY24" fmla="*/ 0 h 5324475"/>
              <a:gd name="connsiteX25" fmla="*/ 3027362 w 6402387"/>
              <a:gd name="connsiteY25" fmla="*/ 2647365 h 5324475"/>
              <a:gd name="connsiteX26" fmla="*/ 1513681 w 6402387"/>
              <a:gd name="connsiteY26" fmla="*/ 5324475 h 5324475"/>
              <a:gd name="connsiteX27" fmla="*/ 0 w 6402387"/>
              <a:gd name="connsiteY27" fmla="*/ 2647365 h 5324475"/>
              <a:gd name="connsiteX28" fmla="*/ 1513681 w 6402387"/>
              <a:gd name="connsiteY28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402387" h="5324475">
                <a:moveTo>
                  <a:pt x="5102190" y="798690"/>
                </a:moveTo>
                <a:cubicBezTo>
                  <a:pt x="5102190" y="798690"/>
                  <a:pt x="5102190" y="798690"/>
                  <a:pt x="4150460" y="3267821"/>
                </a:cubicBezTo>
                <a:cubicBezTo>
                  <a:pt x="4150460" y="3267821"/>
                  <a:pt x="4150460" y="3267821"/>
                  <a:pt x="4648806" y="3267821"/>
                </a:cubicBezTo>
                <a:cubicBezTo>
                  <a:pt x="4648806" y="3267821"/>
                  <a:pt x="4648806" y="3267821"/>
                  <a:pt x="5049732" y="3267821"/>
                </a:cubicBezTo>
                <a:cubicBezTo>
                  <a:pt x="5049732" y="3267821"/>
                  <a:pt x="5049732" y="3267821"/>
                  <a:pt x="5117177" y="798690"/>
                </a:cubicBezTo>
                <a:cubicBezTo>
                  <a:pt x="5117177" y="798690"/>
                  <a:pt x="5117177" y="798690"/>
                  <a:pt x="5102190" y="798690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607590" y="69850"/>
                </a:moveTo>
                <a:cubicBezTo>
                  <a:pt x="4607590" y="69850"/>
                  <a:pt x="4607590" y="69850"/>
                  <a:pt x="5997714" y="69850"/>
                </a:cubicBezTo>
                <a:cubicBezTo>
                  <a:pt x="5997714" y="69850"/>
                  <a:pt x="5997714" y="69850"/>
                  <a:pt x="5997714" y="3267821"/>
                </a:cubicBezTo>
                <a:lnTo>
                  <a:pt x="6402387" y="3267821"/>
                </a:lnTo>
                <a:cubicBezTo>
                  <a:pt x="6402387" y="3267821"/>
                  <a:pt x="6402387" y="3267821"/>
                  <a:pt x="6402387" y="4071032"/>
                </a:cubicBezTo>
                <a:cubicBezTo>
                  <a:pt x="6402387" y="4071032"/>
                  <a:pt x="6402387" y="4071032"/>
                  <a:pt x="5997714" y="4071032"/>
                </a:cubicBezTo>
                <a:cubicBezTo>
                  <a:pt x="5997714" y="4071032"/>
                  <a:pt x="5997714" y="4071032"/>
                  <a:pt x="5997714" y="5260975"/>
                </a:cubicBezTo>
                <a:cubicBezTo>
                  <a:pt x="5997714" y="5260975"/>
                  <a:pt x="5997714" y="5260975"/>
                  <a:pt x="4963552" y="5260975"/>
                </a:cubicBezTo>
                <a:cubicBezTo>
                  <a:pt x="4963552" y="5260975"/>
                  <a:pt x="4963552" y="5260975"/>
                  <a:pt x="4963552" y="4071032"/>
                </a:cubicBezTo>
                <a:cubicBezTo>
                  <a:pt x="4963552" y="4071032"/>
                  <a:pt x="4963552" y="4071032"/>
                  <a:pt x="4648806" y="4071032"/>
                </a:cubicBezTo>
                <a:cubicBezTo>
                  <a:pt x="4648806" y="4071032"/>
                  <a:pt x="4648806" y="4071032"/>
                  <a:pt x="3344862" y="4071032"/>
                </a:cubicBezTo>
                <a:cubicBezTo>
                  <a:pt x="3344862" y="4071032"/>
                  <a:pt x="3344862" y="4071032"/>
                  <a:pt x="3344862" y="3026114"/>
                </a:cubicBezTo>
                <a:cubicBezTo>
                  <a:pt x="4603843" y="88443"/>
                  <a:pt x="4600096" y="69850"/>
                  <a:pt x="4607590" y="6985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4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48286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B12AE07-BDEA-42C6-960C-BEF6558549C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59414" y="765176"/>
            <a:ext cx="6376987" cy="5324475"/>
          </a:xfrm>
          <a:custGeom>
            <a:avLst/>
            <a:gdLst>
              <a:gd name="connsiteX0" fmla="*/ 1513681 w 6376987"/>
              <a:gd name="connsiteY0" fmla="*/ 758515 h 5324475"/>
              <a:gd name="connsiteX1" fmla="*/ 1056579 w 6376987"/>
              <a:gd name="connsiteY1" fmla="*/ 2662238 h 5324475"/>
              <a:gd name="connsiteX2" fmla="*/ 1513681 w 6376987"/>
              <a:gd name="connsiteY2" fmla="*/ 4565961 h 5324475"/>
              <a:gd name="connsiteX3" fmla="*/ 1970783 w 6376987"/>
              <a:gd name="connsiteY3" fmla="*/ 2662238 h 5324475"/>
              <a:gd name="connsiteX4" fmla="*/ 1513681 w 6376987"/>
              <a:gd name="connsiteY4" fmla="*/ 758515 h 5324475"/>
              <a:gd name="connsiteX5" fmla="*/ 3453855 w 6376987"/>
              <a:gd name="connsiteY5" fmla="*/ 66675 h 5324475"/>
              <a:gd name="connsiteX6" fmla="*/ 6189607 w 6376987"/>
              <a:gd name="connsiteY6" fmla="*/ 66675 h 5324475"/>
              <a:gd name="connsiteX7" fmla="*/ 6189607 w 6376987"/>
              <a:gd name="connsiteY7" fmla="*/ 869847 h 5324475"/>
              <a:gd name="connsiteX8" fmla="*/ 4488194 w 6376987"/>
              <a:gd name="connsiteY8" fmla="*/ 869847 h 5324475"/>
              <a:gd name="connsiteX9" fmla="*/ 4488194 w 6376987"/>
              <a:gd name="connsiteY9" fmla="*/ 2163846 h 5324475"/>
              <a:gd name="connsiteX10" fmla="*/ 4503184 w 6376987"/>
              <a:gd name="connsiteY10" fmla="*/ 2178719 h 5324475"/>
              <a:gd name="connsiteX11" fmla="*/ 5260201 w 6376987"/>
              <a:gd name="connsiteY11" fmla="*/ 1829191 h 5324475"/>
              <a:gd name="connsiteX12" fmla="*/ 6376987 w 6376987"/>
              <a:gd name="connsiteY12" fmla="*/ 3539649 h 5324475"/>
              <a:gd name="connsiteX13" fmla="*/ 4780507 w 6376987"/>
              <a:gd name="connsiteY13" fmla="*/ 5324475 h 5324475"/>
              <a:gd name="connsiteX14" fmla="*/ 3393893 w 6376987"/>
              <a:gd name="connsiteY14" fmla="*/ 4037913 h 5324475"/>
              <a:gd name="connsiteX15" fmla="*/ 4450718 w 6376987"/>
              <a:gd name="connsiteY15" fmla="*/ 4037913 h 5324475"/>
              <a:gd name="connsiteX16" fmla="*/ 4525670 w 6376987"/>
              <a:gd name="connsiteY16" fmla="*/ 4409752 h 5324475"/>
              <a:gd name="connsiteX17" fmla="*/ 4847964 w 6376987"/>
              <a:gd name="connsiteY17" fmla="*/ 4565924 h 5324475"/>
              <a:gd name="connsiteX18" fmla="*/ 5320162 w 6376987"/>
              <a:gd name="connsiteY18" fmla="*/ 3539649 h 5324475"/>
              <a:gd name="connsiteX19" fmla="*/ 4870449 w 6376987"/>
              <a:gd name="connsiteY19" fmla="*/ 2498501 h 5324475"/>
              <a:gd name="connsiteX20" fmla="*/ 4473203 w 6376987"/>
              <a:gd name="connsiteY20" fmla="*/ 3078569 h 5324475"/>
              <a:gd name="connsiteX21" fmla="*/ 3453855 w 6376987"/>
              <a:gd name="connsiteY21" fmla="*/ 3078569 h 5324475"/>
              <a:gd name="connsiteX22" fmla="*/ 3453855 w 6376987"/>
              <a:gd name="connsiteY22" fmla="*/ 66675 h 5324475"/>
              <a:gd name="connsiteX23" fmla="*/ 1513681 w 6376987"/>
              <a:gd name="connsiteY23" fmla="*/ 0 h 5324475"/>
              <a:gd name="connsiteX24" fmla="*/ 3027362 w 6376987"/>
              <a:gd name="connsiteY24" fmla="*/ 2647365 h 5324475"/>
              <a:gd name="connsiteX25" fmla="*/ 1513681 w 6376987"/>
              <a:gd name="connsiteY25" fmla="*/ 5324475 h 5324475"/>
              <a:gd name="connsiteX26" fmla="*/ 0 w 6376987"/>
              <a:gd name="connsiteY26" fmla="*/ 2647365 h 5324475"/>
              <a:gd name="connsiteX27" fmla="*/ 1513681 w 6376987"/>
              <a:gd name="connsiteY27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76987" h="5324475"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3453855" y="66675"/>
                </a:moveTo>
                <a:cubicBezTo>
                  <a:pt x="6189607" y="66675"/>
                  <a:pt x="6189607" y="66675"/>
                  <a:pt x="6189607" y="66675"/>
                </a:cubicBezTo>
                <a:cubicBezTo>
                  <a:pt x="6189607" y="869847"/>
                  <a:pt x="6189607" y="869847"/>
                  <a:pt x="6189607" y="869847"/>
                </a:cubicBezTo>
                <a:cubicBezTo>
                  <a:pt x="4488194" y="869847"/>
                  <a:pt x="4488194" y="869847"/>
                  <a:pt x="4488194" y="869847"/>
                </a:cubicBezTo>
                <a:lnTo>
                  <a:pt x="4488194" y="2163846"/>
                </a:lnTo>
                <a:cubicBezTo>
                  <a:pt x="4503184" y="2178719"/>
                  <a:pt x="4503184" y="2178719"/>
                  <a:pt x="4503184" y="2178719"/>
                </a:cubicBezTo>
                <a:cubicBezTo>
                  <a:pt x="4668079" y="1933306"/>
                  <a:pt x="4952897" y="1829191"/>
                  <a:pt x="5260201" y="1829191"/>
                </a:cubicBezTo>
                <a:cubicBezTo>
                  <a:pt x="6122150" y="1829191"/>
                  <a:pt x="6376987" y="2416696"/>
                  <a:pt x="6376987" y="3539649"/>
                </a:cubicBezTo>
                <a:cubicBezTo>
                  <a:pt x="6376987" y="4930326"/>
                  <a:pt x="5852322" y="5324475"/>
                  <a:pt x="4780507" y="5324475"/>
                </a:cubicBezTo>
                <a:cubicBezTo>
                  <a:pt x="3911062" y="5324475"/>
                  <a:pt x="3363912" y="4967510"/>
                  <a:pt x="3393893" y="4037913"/>
                </a:cubicBezTo>
                <a:cubicBezTo>
                  <a:pt x="4450718" y="4037913"/>
                  <a:pt x="4450718" y="4037913"/>
                  <a:pt x="4450718" y="4037913"/>
                </a:cubicBezTo>
                <a:cubicBezTo>
                  <a:pt x="4450718" y="4179212"/>
                  <a:pt x="4465708" y="4313074"/>
                  <a:pt x="4525670" y="4409752"/>
                </a:cubicBezTo>
                <a:cubicBezTo>
                  <a:pt x="4585631" y="4506430"/>
                  <a:pt x="4683069" y="4565924"/>
                  <a:pt x="4847964" y="4565924"/>
                </a:cubicBezTo>
                <a:cubicBezTo>
                  <a:pt x="5267696" y="4565924"/>
                  <a:pt x="5320162" y="4246143"/>
                  <a:pt x="5320162" y="3539649"/>
                </a:cubicBezTo>
                <a:cubicBezTo>
                  <a:pt x="5320162" y="3204994"/>
                  <a:pt x="5350143" y="2498501"/>
                  <a:pt x="4870449" y="2498501"/>
                </a:cubicBezTo>
                <a:cubicBezTo>
                  <a:pt x="4563146" y="2498501"/>
                  <a:pt x="4473203" y="2840592"/>
                  <a:pt x="4473203" y="3078569"/>
                </a:cubicBezTo>
                <a:cubicBezTo>
                  <a:pt x="3453855" y="3078569"/>
                  <a:pt x="3453855" y="3078569"/>
                  <a:pt x="3453855" y="3078569"/>
                </a:cubicBezTo>
                <a:cubicBezTo>
                  <a:pt x="3453855" y="66675"/>
                  <a:pt x="3453855" y="66675"/>
                  <a:pt x="3453855" y="66675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5446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7FBB8D6-D566-4BAB-A705-2AE0C793D6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4813" y="765176"/>
            <a:ext cx="6351587" cy="5324475"/>
          </a:xfrm>
          <a:custGeom>
            <a:avLst/>
            <a:gdLst>
              <a:gd name="connsiteX0" fmla="*/ 4818659 w 6351587"/>
              <a:gd name="connsiteY0" fmla="*/ 2617619 h 5324475"/>
              <a:gd name="connsiteX1" fmla="*/ 4372648 w 6351587"/>
              <a:gd name="connsiteY1" fmla="*/ 3651281 h 5324475"/>
              <a:gd name="connsiteX2" fmla="*/ 4799919 w 6351587"/>
              <a:gd name="connsiteY2" fmla="*/ 4565961 h 5324475"/>
              <a:gd name="connsiteX3" fmla="*/ 5294653 w 6351587"/>
              <a:gd name="connsiteY3" fmla="*/ 3562044 h 5324475"/>
              <a:gd name="connsiteX4" fmla="*/ 4818659 w 6351587"/>
              <a:gd name="connsiteY4" fmla="*/ 2617619 h 5324475"/>
              <a:gd name="connsiteX5" fmla="*/ 1513681 w 6351587"/>
              <a:gd name="connsiteY5" fmla="*/ 758515 h 5324475"/>
              <a:gd name="connsiteX6" fmla="*/ 1056579 w 6351587"/>
              <a:gd name="connsiteY6" fmla="*/ 2662238 h 5324475"/>
              <a:gd name="connsiteX7" fmla="*/ 1513681 w 6351587"/>
              <a:gd name="connsiteY7" fmla="*/ 4565961 h 5324475"/>
              <a:gd name="connsiteX8" fmla="*/ 1970783 w 6351587"/>
              <a:gd name="connsiteY8" fmla="*/ 2662238 h 5324475"/>
              <a:gd name="connsiteX9" fmla="*/ 1513681 w 6351587"/>
              <a:gd name="connsiteY9" fmla="*/ 758515 h 5324475"/>
              <a:gd name="connsiteX10" fmla="*/ 4923602 w 6351587"/>
              <a:gd name="connsiteY10" fmla="*/ 0 h 5324475"/>
              <a:gd name="connsiteX11" fmla="*/ 6302863 w 6351587"/>
              <a:gd name="connsiteY11" fmla="*/ 1186109 h 5324475"/>
              <a:gd name="connsiteX12" fmla="*/ 5200954 w 6351587"/>
              <a:gd name="connsiteY12" fmla="*/ 1186109 h 5324475"/>
              <a:gd name="connsiteX13" fmla="*/ 5133490 w 6351587"/>
              <a:gd name="connsiteY13" fmla="*/ 855188 h 5324475"/>
              <a:gd name="connsiteX14" fmla="*/ 4833651 w 6351587"/>
              <a:gd name="connsiteY14" fmla="*/ 713896 h 5324475"/>
              <a:gd name="connsiteX15" fmla="*/ 4353908 w 6351587"/>
              <a:gd name="connsiteY15" fmla="*/ 2260671 h 5324475"/>
              <a:gd name="connsiteX16" fmla="*/ 5193458 w 6351587"/>
              <a:gd name="connsiteY16" fmla="*/ 1903723 h 5324475"/>
              <a:gd name="connsiteX17" fmla="*/ 6351587 w 6351587"/>
              <a:gd name="connsiteY17" fmla="*/ 3554608 h 5324475"/>
              <a:gd name="connsiteX18" fmla="*/ 4799919 w 6351587"/>
              <a:gd name="connsiteY18" fmla="*/ 5324475 h 5324475"/>
              <a:gd name="connsiteX19" fmla="*/ 4777431 w 6351587"/>
              <a:gd name="connsiteY19" fmla="*/ 5324475 h 5324475"/>
              <a:gd name="connsiteX20" fmla="*/ 3319462 w 6351587"/>
              <a:gd name="connsiteY20" fmla="*/ 3100986 h 5324475"/>
              <a:gd name="connsiteX21" fmla="*/ 4923602 w 6351587"/>
              <a:gd name="connsiteY21" fmla="*/ 0 h 5324475"/>
              <a:gd name="connsiteX22" fmla="*/ 1513681 w 6351587"/>
              <a:gd name="connsiteY22" fmla="*/ 0 h 5324475"/>
              <a:gd name="connsiteX23" fmla="*/ 3027362 w 6351587"/>
              <a:gd name="connsiteY23" fmla="*/ 2647365 h 5324475"/>
              <a:gd name="connsiteX24" fmla="*/ 1513681 w 6351587"/>
              <a:gd name="connsiteY24" fmla="*/ 5324475 h 5324475"/>
              <a:gd name="connsiteX25" fmla="*/ 0 w 6351587"/>
              <a:gd name="connsiteY25" fmla="*/ 2647365 h 5324475"/>
              <a:gd name="connsiteX26" fmla="*/ 1513681 w 6351587"/>
              <a:gd name="connsiteY2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51587" h="5324475">
                <a:moveTo>
                  <a:pt x="4818659" y="2617619"/>
                </a:moveTo>
                <a:cubicBezTo>
                  <a:pt x="4406379" y="2617619"/>
                  <a:pt x="4372648" y="2996876"/>
                  <a:pt x="4372648" y="3651281"/>
                </a:cubicBezTo>
                <a:cubicBezTo>
                  <a:pt x="4372648" y="3956174"/>
                  <a:pt x="4380143" y="4558524"/>
                  <a:pt x="4799919" y="4565961"/>
                </a:cubicBezTo>
                <a:cubicBezTo>
                  <a:pt x="5159726" y="4565961"/>
                  <a:pt x="5294653" y="4361459"/>
                  <a:pt x="5294653" y="3562044"/>
                </a:cubicBezTo>
                <a:cubicBezTo>
                  <a:pt x="5294653" y="2907639"/>
                  <a:pt x="5215946" y="2617619"/>
                  <a:pt x="4818659" y="2617619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7" y="4565961"/>
                  <a:pt x="1513681" y="4565961"/>
                </a:cubicBezTo>
                <a:cubicBezTo>
                  <a:pt x="1933316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923602" y="0"/>
                </a:moveTo>
                <a:cubicBezTo>
                  <a:pt x="5718177" y="0"/>
                  <a:pt x="6310359" y="338357"/>
                  <a:pt x="6302863" y="1186109"/>
                </a:cubicBezTo>
                <a:cubicBezTo>
                  <a:pt x="6302863" y="1186109"/>
                  <a:pt x="6302863" y="1186109"/>
                  <a:pt x="5200954" y="1186109"/>
                </a:cubicBezTo>
                <a:cubicBezTo>
                  <a:pt x="5208450" y="1052253"/>
                  <a:pt x="5185962" y="936989"/>
                  <a:pt x="5133490" y="855188"/>
                </a:cubicBezTo>
                <a:cubicBezTo>
                  <a:pt x="5073522" y="765951"/>
                  <a:pt x="4983570" y="713896"/>
                  <a:pt x="4833651" y="713896"/>
                </a:cubicBezTo>
                <a:cubicBezTo>
                  <a:pt x="4368900" y="713896"/>
                  <a:pt x="4353908" y="944425"/>
                  <a:pt x="4353908" y="2260671"/>
                </a:cubicBezTo>
                <a:cubicBezTo>
                  <a:pt x="4646251" y="2007833"/>
                  <a:pt x="4803667" y="1903723"/>
                  <a:pt x="5193458" y="1903723"/>
                </a:cubicBezTo>
                <a:cubicBezTo>
                  <a:pt x="6167935" y="1903723"/>
                  <a:pt x="6351587" y="2758911"/>
                  <a:pt x="6351587" y="3554608"/>
                </a:cubicBezTo>
                <a:cubicBezTo>
                  <a:pt x="6351587" y="4621734"/>
                  <a:pt x="5954300" y="5309602"/>
                  <a:pt x="4799919" y="5324475"/>
                </a:cubicBezTo>
                <a:cubicBezTo>
                  <a:pt x="4799919" y="5324475"/>
                  <a:pt x="4784927" y="5324475"/>
                  <a:pt x="4777431" y="5324475"/>
                </a:cubicBezTo>
                <a:cubicBezTo>
                  <a:pt x="3413162" y="5324475"/>
                  <a:pt x="3319462" y="4164394"/>
                  <a:pt x="3319462" y="3100986"/>
                </a:cubicBezTo>
                <a:cubicBezTo>
                  <a:pt x="3319462" y="1033662"/>
                  <a:pt x="3431902" y="0"/>
                  <a:pt x="492360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6465997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2556C16B-02E0-499C-B16B-E3D1297229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81638" y="765176"/>
            <a:ext cx="6219825" cy="5324475"/>
          </a:xfrm>
          <a:custGeom>
            <a:avLst/>
            <a:gdLst>
              <a:gd name="connsiteX0" fmla="*/ 1513682 w 6219825"/>
              <a:gd name="connsiteY0" fmla="*/ 758515 h 5324475"/>
              <a:gd name="connsiteX1" fmla="*/ 1056580 w 6219825"/>
              <a:gd name="connsiteY1" fmla="*/ 2662238 h 5324475"/>
              <a:gd name="connsiteX2" fmla="*/ 1513682 w 6219825"/>
              <a:gd name="connsiteY2" fmla="*/ 4565961 h 5324475"/>
              <a:gd name="connsiteX3" fmla="*/ 1970784 w 6219825"/>
              <a:gd name="connsiteY3" fmla="*/ 2662238 h 5324475"/>
              <a:gd name="connsiteX4" fmla="*/ 1513682 w 6219825"/>
              <a:gd name="connsiteY4" fmla="*/ 758515 h 5324475"/>
              <a:gd name="connsiteX5" fmla="*/ 3409950 w 6219825"/>
              <a:gd name="connsiteY5" fmla="*/ 66675 h 5324475"/>
              <a:gd name="connsiteX6" fmla="*/ 6219825 w 6219825"/>
              <a:gd name="connsiteY6" fmla="*/ 66675 h 5324475"/>
              <a:gd name="connsiteX7" fmla="*/ 6219825 w 6219825"/>
              <a:gd name="connsiteY7" fmla="*/ 1055688 h 5324475"/>
              <a:gd name="connsiteX8" fmla="*/ 4945062 w 6219825"/>
              <a:gd name="connsiteY8" fmla="*/ 5257800 h 5324475"/>
              <a:gd name="connsiteX9" fmla="*/ 3768725 w 6219825"/>
              <a:gd name="connsiteY9" fmla="*/ 5257800 h 5324475"/>
              <a:gd name="connsiteX10" fmla="*/ 5200650 w 6219825"/>
              <a:gd name="connsiteY10" fmla="*/ 869950 h 5324475"/>
              <a:gd name="connsiteX11" fmla="*/ 3409950 w 6219825"/>
              <a:gd name="connsiteY11" fmla="*/ 869950 h 5324475"/>
              <a:gd name="connsiteX12" fmla="*/ 1513682 w 6219825"/>
              <a:gd name="connsiteY12" fmla="*/ 0 h 5324475"/>
              <a:gd name="connsiteX13" fmla="*/ 3027363 w 6219825"/>
              <a:gd name="connsiteY13" fmla="*/ 2647365 h 5324475"/>
              <a:gd name="connsiteX14" fmla="*/ 1513682 w 6219825"/>
              <a:gd name="connsiteY14" fmla="*/ 5324475 h 5324475"/>
              <a:gd name="connsiteX15" fmla="*/ 0 w 6219825"/>
              <a:gd name="connsiteY15" fmla="*/ 2647365 h 5324475"/>
              <a:gd name="connsiteX16" fmla="*/ 1513682 w 6219825"/>
              <a:gd name="connsiteY16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19825" h="5324475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3409950" y="66675"/>
                </a:moveTo>
                <a:lnTo>
                  <a:pt x="6219825" y="66675"/>
                </a:lnTo>
                <a:lnTo>
                  <a:pt x="6219825" y="1055688"/>
                </a:lnTo>
                <a:lnTo>
                  <a:pt x="4945062" y="5257800"/>
                </a:lnTo>
                <a:lnTo>
                  <a:pt x="3768725" y="5257800"/>
                </a:lnTo>
                <a:lnTo>
                  <a:pt x="5200650" y="869950"/>
                </a:lnTo>
                <a:lnTo>
                  <a:pt x="3409950" y="869950"/>
                </a:ln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4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14671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Bildplatzhalter 45">
            <a:extLst>
              <a:ext uri="{FF2B5EF4-FFF2-40B4-BE49-F238E27FC236}">
                <a16:creationId xmlns:a16="http://schemas.microsoft.com/office/drawing/2014/main" id="{286F1DC7-1C16-4D6A-BED6-DC5C2D85898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10214" y="765175"/>
            <a:ext cx="6351587" cy="5324475"/>
          </a:xfrm>
          <a:custGeom>
            <a:avLst/>
            <a:gdLst>
              <a:gd name="connsiteX0" fmla="*/ 4840861 w 6351587"/>
              <a:gd name="connsiteY0" fmla="*/ 2937385 h 5324475"/>
              <a:gd name="connsiteX1" fmla="*/ 4383519 w 6351587"/>
              <a:gd name="connsiteY1" fmla="*/ 3859501 h 5324475"/>
              <a:gd name="connsiteX2" fmla="*/ 4840861 w 6351587"/>
              <a:gd name="connsiteY2" fmla="*/ 4565961 h 5324475"/>
              <a:gd name="connsiteX3" fmla="*/ 4844609 w 6351587"/>
              <a:gd name="connsiteY3" fmla="*/ 4565961 h 5324475"/>
              <a:gd name="connsiteX4" fmla="*/ 5294453 w 6351587"/>
              <a:gd name="connsiteY4" fmla="*/ 3859501 h 5324475"/>
              <a:gd name="connsiteX5" fmla="*/ 4840861 w 6351587"/>
              <a:gd name="connsiteY5" fmla="*/ 2937385 h 5324475"/>
              <a:gd name="connsiteX6" fmla="*/ 4840861 w 6351587"/>
              <a:gd name="connsiteY6" fmla="*/ 758515 h 5324475"/>
              <a:gd name="connsiteX7" fmla="*/ 4428504 w 6351587"/>
              <a:gd name="connsiteY7" fmla="*/ 1435229 h 5324475"/>
              <a:gd name="connsiteX8" fmla="*/ 4840861 w 6351587"/>
              <a:gd name="connsiteY8" fmla="*/ 2134252 h 5324475"/>
              <a:gd name="connsiteX9" fmla="*/ 4844609 w 6351587"/>
              <a:gd name="connsiteY9" fmla="*/ 2134252 h 5324475"/>
              <a:gd name="connsiteX10" fmla="*/ 5253218 w 6351587"/>
              <a:gd name="connsiteY10" fmla="*/ 1435229 h 5324475"/>
              <a:gd name="connsiteX11" fmla="*/ 4840861 w 6351587"/>
              <a:gd name="connsiteY11" fmla="*/ 758515 h 5324475"/>
              <a:gd name="connsiteX12" fmla="*/ 1513681 w 6351587"/>
              <a:gd name="connsiteY12" fmla="*/ 758515 h 5324475"/>
              <a:gd name="connsiteX13" fmla="*/ 1056579 w 6351587"/>
              <a:gd name="connsiteY13" fmla="*/ 2662238 h 5324475"/>
              <a:gd name="connsiteX14" fmla="*/ 1513681 w 6351587"/>
              <a:gd name="connsiteY14" fmla="*/ 4565961 h 5324475"/>
              <a:gd name="connsiteX15" fmla="*/ 1970783 w 6351587"/>
              <a:gd name="connsiteY15" fmla="*/ 2662238 h 5324475"/>
              <a:gd name="connsiteX16" fmla="*/ 1513681 w 6351587"/>
              <a:gd name="connsiteY16" fmla="*/ 758515 h 5324475"/>
              <a:gd name="connsiteX17" fmla="*/ 4837112 w 6351587"/>
              <a:gd name="connsiteY17" fmla="*/ 0 h 5324475"/>
              <a:gd name="connsiteX18" fmla="*/ 6306603 w 6351587"/>
              <a:gd name="connsiteY18" fmla="*/ 1375737 h 5324475"/>
              <a:gd name="connsiteX19" fmla="*/ 5579355 w 6351587"/>
              <a:gd name="connsiteY19" fmla="*/ 2506073 h 5324475"/>
              <a:gd name="connsiteX20" fmla="*/ 5579355 w 6351587"/>
              <a:gd name="connsiteY20" fmla="*/ 2520946 h 5324475"/>
              <a:gd name="connsiteX21" fmla="*/ 6351587 w 6351587"/>
              <a:gd name="connsiteY21" fmla="*/ 3926429 h 5324475"/>
              <a:gd name="connsiteX22" fmla="*/ 4844609 w 6351587"/>
              <a:gd name="connsiteY22" fmla="*/ 5324475 h 5324475"/>
              <a:gd name="connsiteX23" fmla="*/ 4837112 w 6351587"/>
              <a:gd name="connsiteY23" fmla="*/ 5324475 h 5324475"/>
              <a:gd name="connsiteX24" fmla="*/ 3322637 w 6351587"/>
              <a:gd name="connsiteY24" fmla="*/ 3926429 h 5324475"/>
              <a:gd name="connsiteX25" fmla="*/ 4094869 w 6351587"/>
              <a:gd name="connsiteY25" fmla="*/ 2520946 h 5324475"/>
              <a:gd name="connsiteX26" fmla="*/ 4094869 w 6351587"/>
              <a:gd name="connsiteY26" fmla="*/ 2506073 h 5324475"/>
              <a:gd name="connsiteX27" fmla="*/ 3367621 w 6351587"/>
              <a:gd name="connsiteY27" fmla="*/ 1375737 h 5324475"/>
              <a:gd name="connsiteX28" fmla="*/ 4837112 w 6351587"/>
              <a:gd name="connsiteY28" fmla="*/ 0 h 5324475"/>
              <a:gd name="connsiteX29" fmla="*/ 1513681 w 6351587"/>
              <a:gd name="connsiteY29" fmla="*/ 0 h 5324475"/>
              <a:gd name="connsiteX30" fmla="*/ 3027362 w 6351587"/>
              <a:gd name="connsiteY30" fmla="*/ 2647365 h 5324475"/>
              <a:gd name="connsiteX31" fmla="*/ 1513681 w 6351587"/>
              <a:gd name="connsiteY31" fmla="*/ 5324475 h 5324475"/>
              <a:gd name="connsiteX32" fmla="*/ 0 w 6351587"/>
              <a:gd name="connsiteY32" fmla="*/ 2647365 h 5324475"/>
              <a:gd name="connsiteX33" fmla="*/ 1513681 w 6351587"/>
              <a:gd name="connsiteY33" fmla="*/ 0 h 532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351587" h="5324475">
                <a:moveTo>
                  <a:pt x="4840861" y="2937385"/>
                </a:moveTo>
                <a:cubicBezTo>
                  <a:pt x="4368524" y="2937385"/>
                  <a:pt x="4383519" y="3547171"/>
                  <a:pt x="4383519" y="3859501"/>
                </a:cubicBezTo>
                <a:cubicBezTo>
                  <a:pt x="4383519" y="4156958"/>
                  <a:pt x="4436001" y="4565961"/>
                  <a:pt x="4840861" y="4565961"/>
                </a:cubicBezTo>
                <a:cubicBezTo>
                  <a:pt x="4840861" y="4565961"/>
                  <a:pt x="4844609" y="4565961"/>
                  <a:pt x="4844609" y="4565961"/>
                </a:cubicBezTo>
                <a:cubicBezTo>
                  <a:pt x="5249469" y="4562242"/>
                  <a:pt x="5294453" y="4156958"/>
                  <a:pt x="5294453" y="3859501"/>
                </a:cubicBezTo>
                <a:cubicBezTo>
                  <a:pt x="5294453" y="3550890"/>
                  <a:pt x="5309448" y="2944821"/>
                  <a:pt x="4840861" y="2937385"/>
                </a:cubicBezTo>
                <a:close/>
                <a:moveTo>
                  <a:pt x="4840861" y="758515"/>
                </a:moveTo>
                <a:cubicBezTo>
                  <a:pt x="4473488" y="758515"/>
                  <a:pt x="4428504" y="1182390"/>
                  <a:pt x="4428504" y="1435229"/>
                </a:cubicBezTo>
                <a:cubicBezTo>
                  <a:pt x="4428504" y="1702940"/>
                  <a:pt x="4473488" y="2130534"/>
                  <a:pt x="4840861" y="2134252"/>
                </a:cubicBezTo>
                <a:cubicBezTo>
                  <a:pt x="4844609" y="2134252"/>
                  <a:pt x="4840861" y="2134252"/>
                  <a:pt x="4844609" y="2134252"/>
                </a:cubicBezTo>
                <a:cubicBezTo>
                  <a:pt x="5211982" y="2126816"/>
                  <a:pt x="5253218" y="1702940"/>
                  <a:pt x="5253218" y="1435229"/>
                </a:cubicBezTo>
                <a:cubicBezTo>
                  <a:pt x="5253218" y="1182390"/>
                  <a:pt x="5208233" y="758515"/>
                  <a:pt x="4840861" y="758515"/>
                </a:cubicBezTo>
                <a:close/>
                <a:moveTo>
                  <a:pt x="1513681" y="758515"/>
                </a:moveTo>
                <a:cubicBezTo>
                  <a:pt x="1064073" y="758515"/>
                  <a:pt x="1056579" y="1063408"/>
                  <a:pt x="1056579" y="2662238"/>
                </a:cubicBezTo>
                <a:cubicBezTo>
                  <a:pt x="1056579" y="4231322"/>
                  <a:pt x="1094046" y="4565961"/>
                  <a:pt x="1513681" y="4565961"/>
                </a:cubicBezTo>
                <a:cubicBezTo>
                  <a:pt x="1933315" y="4565961"/>
                  <a:pt x="1970783" y="4231322"/>
                  <a:pt x="1970783" y="2662238"/>
                </a:cubicBezTo>
                <a:cubicBezTo>
                  <a:pt x="1970783" y="1063408"/>
                  <a:pt x="1963289" y="758515"/>
                  <a:pt x="1513681" y="758515"/>
                </a:cubicBezTo>
                <a:close/>
                <a:moveTo>
                  <a:pt x="4837112" y="0"/>
                </a:moveTo>
                <a:cubicBezTo>
                  <a:pt x="5804277" y="0"/>
                  <a:pt x="6306603" y="431312"/>
                  <a:pt x="6306603" y="1375737"/>
                </a:cubicBezTo>
                <a:cubicBezTo>
                  <a:pt x="6306603" y="1926032"/>
                  <a:pt x="6179147" y="2357345"/>
                  <a:pt x="5579355" y="2506073"/>
                </a:cubicBezTo>
                <a:cubicBezTo>
                  <a:pt x="5579355" y="2506073"/>
                  <a:pt x="5579355" y="2506073"/>
                  <a:pt x="5579355" y="2520946"/>
                </a:cubicBezTo>
                <a:cubicBezTo>
                  <a:pt x="6254121" y="2758911"/>
                  <a:pt x="6351587" y="3286897"/>
                  <a:pt x="6351587" y="3926429"/>
                </a:cubicBezTo>
                <a:cubicBezTo>
                  <a:pt x="6351587" y="4900599"/>
                  <a:pt x="5834266" y="5324475"/>
                  <a:pt x="4844609" y="5324475"/>
                </a:cubicBezTo>
                <a:cubicBezTo>
                  <a:pt x="4844609" y="5324475"/>
                  <a:pt x="4840861" y="5324475"/>
                  <a:pt x="4837112" y="5324475"/>
                </a:cubicBezTo>
                <a:cubicBezTo>
                  <a:pt x="3847455" y="5324475"/>
                  <a:pt x="3322637" y="4900599"/>
                  <a:pt x="3322637" y="3926429"/>
                </a:cubicBezTo>
                <a:cubicBezTo>
                  <a:pt x="3322637" y="3286897"/>
                  <a:pt x="3420103" y="2758911"/>
                  <a:pt x="4094869" y="2520946"/>
                </a:cubicBezTo>
                <a:cubicBezTo>
                  <a:pt x="4094869" y="2520946"/>
                  <a:pt x="4094869" y="2520946"/>
                  <a:pt x="4094869" y="2506073"/>
                </a:cubicBezTo>
                <a:cubicBezTo>
                  <a:pt x="3510072" y="2357345"/>
                  <a:pt x="3367621" y="1926032"/>
                  <a:pt x="3367621" y="1375737"/>
                </a:cubicBezTo>
                <a:cubicBezTo>
                  <a:pt x="3367621" y="431312"/>
                  <a:pt x="3869947" y="0"/>
                  <a:pt x="4837112" y="0"/>
                </a:cubicBezTo>
                <a:close/>
                <a:moveTo>
                  <a:pt x="1513681" y="0"/>
                </a:moveTo>
                <a:cubicBezTo>
                  <a:pt x="2802558" y="0"/>
                  <a:pt x="3027362" y="661841"/>
                  <a:pt x="3027362" y="2647365"/>
                </a:cubicBezTo>
                <a:cubicBezTo>
                  <a:pt x="3027362" y="4275940"/>
                  <a:pt x="2922453" y="5324475"/>
                  <a:pt x="1513681" y="5324475"/>
                </a:cubicBezTo>
                <a:cubicBezTo>
                  <a:pt x="104908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8888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011AACA-54C2-4EF9-87BC-944999F30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1326" y="765174"/>
            <a:ext cx="6355205" cy="5327650"/>
          </a:xfrm>
          <a:custGeom>
            <a:avLst/>
            <a:gdLst>
              <a:gd name="connsiteX0" fmla="*/ 1513682 w 6355205"/>
              <a:gd name="connsiteY0" fmla="*/ 758515 h 5327650"/>
              <a:gd name="connsiteX1" fmla="*/ 1056580 w 6355205"/>
              <a:gd name="connsiteY1" fmla="*/ 2662238 h 5327650"/>
              <a:gd name="connsiteX2" fmla="*/ 1513682 w 6355205"/>
              <a:gd name="connsiteY2" fmla="*/ 4565961 h 5327650"/>
              <a:gd name="connsiteX3" fmla="*/ 1970784 w 6355205"/>
              <a:gd name="connsiteY3" fmla="*/ 2662238 h 5327650"/>
              <a:gd name="connsiteX4" fmla="*/ 1513682 w 6355205"/>
              <a:gd name="connsiteY4" fmla="*/ 758515 h 5327650"/>
              <a:gd name="connsiteX5" fmla="*/ 4833586 w 6355205"/>
              <a:gd name="connsiteY5" fmla="*/ 713823 h 5327650"/>
              <a:gd name="connsiteX6" fmla="*/ 4376351 w 6355205"/>
              <a:gd name="connsiteY6" fmla="*/ 1635845 h 5327650"/>
              <a:gd name="connsiteX7" fmla="*/ 4814847 w 6355205"/>
              <a:gd name="connsiteY7" fmla="*/ 2535560 h 5327650"/>
              <a:gd name="connsiteX8" fmla="*/ 4822343 w 6355205"/>
              <a:gd name="connsiteY8" fmla="*/ 2535560 h 5327650"/>
              <a:gd name="connsiteX9" fmla="*/ 5298317 w 6355205"/>
              <a:gd name="connsiteY9" fmla="*/ 1613538 h 5327650"/>
              <a:gd name="connsiteX10" fmla="*/ 4833586 w 6355205"/>
              <a:gd name="connsiteY10" fmla="*/ 713823 h 5327650"/>
              <a:gd name="connsiteX11" fmla="*/ 4811099 w 6355205"/>
              <a:gd name="connsiteY11" fmla="*/ 0 h 5327650"/>
              <a:gd name="connsiteX12" fmla="*/ 6355205 w 6355205"/>
              <a:gd name="connsiteY12" fmla="*/ 2687991 h 5327650"/>
              <a:gd name="connsiteX13" fmla="*/ 4803604 w 6355205"/>
              <a:gd name="connsiteY13" fmla="*/ 5327650 h 5327650"/>
              <a:gd name="connsiteX14" fmla="*/ 3394420 w 6355205"/>
              <a:gd name="connsiteY14" fmla="*/ 4041281 h 5327650"/>
              <a:gd name="connsiteX15" fmla="*/ 4443812 w 6355205"/>
              <a:gd name="connsiteY15" fmla="*/ 4041281 h 5327650"/>
              <a:gd name="connsiteX16" fmla="*/ 4518769 w 6355205"/>
              <a:gd name="connsiteY16" fmla="*/ 4405628 h 5327650"/>
              <a:gd name="connsiteX17" fmla="*/ 4829839 w 6355205"/>
              <a:gd name="connsiteY17" fmla="*/ 4565495 h 5327650"/>
              <a:gd name="connsiteX18" fmla="*/ 5294569 w 6355205"/>
              <a:gd name="connsiteY18" fmla="*/ 2907343 h 5327650"/>
              <a:gd name="connsiteX19" fmla="*/ 4814847 w 6355205"/>
              <a:gd name="connsiteY19" fmla="*/ 3197334 h 5327650"/>
              <a:gd name="connsiteX20" fmla="*/ 4428821 w 6355205"/>
              <a:gd name="connsiteY20" fmla="*/ 3249383 h 5327650"/>
              <a:gd name="connsiteX21" fmla="*/ 3319463 w 6355205"/>
              <a:gd name="connsiteY21" fmla="*/ 1844044 h 5327650"/>
              <a:gd name="connsiteX22" fmla="*/ 4811099 w 6355205"/>
              <a:gd name="connsiteY22" fmla="*/ 0 h 5327650"/>
              <a:gd name="connsiteX23" fmla="*/ 1513682 w 6355205"/>
              <a:gd name="connsiteY23" fmla="*/ 0 h 5327650"/>
              <a:gd name="connsiteX24" fmla="*/ 3027363 w 6355205"/>
              <a:gd name="connsiteY24" fmla="*/ 2647365 h 5327650"/>
              <a:gd name="connsiteX25" fmla="*/ 1513682 w 6355205"/>
              <a:gd name="connsiteY25" fmla="*/ 5324475 h 5327650"/>
              <a:gd name="connsiteX26" fmla="*/ 0 w 6355205"/>
              <a:gd name="connsiteY26" fmla="*/ 2647365 h 5327650"/>
              <a:gd name="connsiteX27" fmla="*/ 1513682 w 6355205"/>
              <a:gd name="connsiteY2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55205" h="5327650">
                <a:moveTo>
                  <a:pt x="1513682" y="758515"/>
                </a:moveTo>
                <a:cubicBezTo>
                  <a:pt x="1064073" y="758515"/>
                  <a:pt x="1056580" y="1063408"/>
                  <a:pt x="1056580" y="2662238"/>
                </a:cubicBezTo>
                <a:cubicBezTo>
                  <a:pt x="1056580" y="4231322"/>
                  <a:pt x="1094047" y="4565961"/>
                  <a:pt x="1513682" y="4565961"/>
                </a:cubicBezTo>
                <a:cubicBezTo>
                  <a:pt x="1933316" y="4565961"/>
                  <a:pt x="1970784" y="4231322"/>
                  <a:pt x="1970784" y="2662238"/>
                </a:cubicBezTo>
                <a:cubicBezTo>
                  <a:pt x="1970784" y="1063408"/>
                  <a:pt x="1963290" y="758515"/>
                  <a:pt x="1513682" y="758515"/>
                </a:cubicBezTo>
                <a:close/>
                <a:moveTo>
                  <a:pt x="4833586" y="713823"/>
                </a:moveTo>
                <a:cubicBezTo>
                  <a:pt x="4376351" y="713823"/>
                  <a:pt x="4376351" y="1316112"/>
                  <a:pt x="4376351" y="1635845"/>
                </a:cubicBezTo>
                <a:cubicBezTo>
                  <a:pt x="4376351" y="1955579"/>
                  <a:pt x="4380099" y="2528124"/>
                  <a:pt x="4814847" y="2535560"/>
                </a:cubicBezTo>
                <a:cubicBezTo>
                  <a:pt x="4814847" y="2535560"/>
                  <a:pt x="4822343" y="2535560"/>
                  <a:pt x="4822343" y="2535560"/>
                </a:cubicBezTo>
                <a:cubicBezTo>
                  <a:pt x="5272083" y="2535560"/>
                  <a:pt x="5298317" y="1933272"/>
                  <a:pt x="5298317" y="1613538"/>
                </a:cubicBezTo>
                <a:cubicBezTo>
                  <a:pt x="5298317" y="1286369"/>
                  <a:pt x="5283326" y="713823"/>
                  <a:pt x="4833586" y="713823"/>
                </a:cubicBezTo>
                <a:close/>
                <a:moveTo>
                  <a:pt x="4811099" y="0"/>
                </a:moveTo>
                <a:cubicBezTo>
                  <a:pt x="6362701" y="0"/>
                  <a:pt x="6355205" y="1230602"/>
                  <a:pt x="6355205" y="2687991"/>
                </a:cubicBezTo>
                <a:cubicBezTo>
                  <a:pt x="6355205" y="3966924"/>
                  <a:pt x="6332718" y="5327650"/>
                  <a:pt x="4803604" y="5327650"/>
                </a:cubicBezTo>
                <a:cubicBezTo>
                  <a:pt x="3896629" y="5327650"/>
                  <a:pt x="3371933" y="5022788"/>
                  <a:pt x="3394420" y="4041281"/>
                </a:cubicBezTo>
                <a:cubicBezTo>
                  <a:pt x="3394420" y="4041281"/>
                  <a:pt x="3394420" y="4041281"/>
                  <a:pt x="4443812" y="4041281"/>
                </a:cubicBezTo>
                <a:cubicBezTo>
                  <a:pt x="4443812" y="4175123"/>
                  <a:pt x="4458803" y="4308965"/>
                  <a:pt x="4518769" y="4405628"/>
                </a:cubicBezTo>
                <a:cubicBezTo>
                  <a:pt x="4578734" y="4502292"/>
                  <a:pt x="4672430" y="4565495"/>
                  <a:pt x="4829839" y="4565495"/>
                </a:cubicBezTo>
                <a:cubicBezTo>
                  <a:pt x="5354535" y="4565495"/>
                  <a:pt x="5294569" y="4141662"/>
                  <a:pt x="5294569" y="2907343"/>
                </a:cubicBezTo>
                <a:cubicBezTo>
                  <a:pt x="5152152" y="3048621"/>
                  <a:pt x="4994743" y="3141566"/>
                  <a:pt x="4814847" y="3197334"/>
                </a:cubicBezTo>
                <a:cubicBezTo>
                  <a:pt x="4694917" y="3234512"/>
                  <a:pt x="4563743" y="3249383"/>
                  <a:pt x="4428821" y="3249383"/>
                </a:cubicBezTo>
                <a:cubicBezTo>
                  <a:pt x="3626785" y="3249383"/>
                  <a:pt x="3319463" y="2535560"/>
                  <a:pt x="3319463" y="1844044"/>
                </a:cubicBezTo>
                <a:cubicBezTo>
                  <a:pt x="3319463" y="825358"/>
                  <a:pt x="3634281" y="0"/>
                  <a:pt x="4811099" y="0"/>
                </a:cubicBezTo>
                <a:close/>
                <a:moveTo>
                  <a:pt x="1513682" y="0"/>
                </a:moveTo>
                <a:cubicBezTo>
                  <a:pt x="2802559" y="0"/>
                  <a:pt x="3027363" y="661841"/>
                  <a:pt x="3027363" y="2647365"/>
                </a:cubicBezTo>
                <a:cubicBezTo>
                  <a:pt x="3027363" y="4275940"/>
                  <a:pt x="2922455" y="5324475"/>
                  <a:pt x="1513682" y="5324475"/>
                </a:cubicBezTo>
                <a:cubicBezTo>
                  <a:pt x="104909" y="5324475"/>
                  <a:pt x="0" y="4275940"/>
                  <a:pt x="0" y="2647365"/>
                </a:cubicBezTo>
                <a:cubicBezTo>
                  <a:pt x="0" y="661841"/>
                  <a:pt x="224804" y="0"/>
                  <a:pt x="151368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987025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Zahl-Bildplatzhalt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81B5379-3A94-4D31-B5BB-D0437420C1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E64B57-C645-4D92-85E6-6494F8AA30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224" y="1767910"/>
            <a:ext cx="4372618" cy="3813380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EAD2CD81-B02B-4ECB-BC37-F2B31574387E}"/>
              </a:ext>
            </a:extLst>
          </p:cNvPr>
          <p:cNvSpPr/>
          <p:nvPr userDrawn="1"/>
        </p:nvSpPr>
        <p:spPr>
          <a:xfrm>
            <a:off x="-4119" y="0"/>
            <a:ext cx="234778" cy="2647371"/>
          </a:xfrm>
          <a:custGeom>
            <a:avLst/>
            <a:gdLst>
              <a:gd name="connsiteX0" fmla="*/ 234778 w 234778"/>
              <a:gd name="connsiteY0" fmla="*/ 0 h 2640227"/>
              <a:gd name="connsiteX1" fmla="*/ 234778 w 234778"/>
              <a:gd name="connsiteY1" fmla="*/ 2500184 h 2640227"/>
              <a:gd name="connsiteX2" fmla="*/ 0 w 234778"/>
              <a:gd name="connsiteY2" fmla="*/ 2640227 h 2640227"/>
              <a:gd name="connsiteX0" fmla="*/ 227634 w 227634"/>
              <a:gd name="connsiteY0" fmla="*/ 0 h 2642609"/>
              <a:gd name="connsiteX1" fmla="*/ 227634 w 227634"/>
              <a:gd name="connsiteY1" fmla="*/ 2500184 h 2642609"/>
              <a:gd name="connsiteX2" fmla="*/ 0 w 227634"/>
              <a:gd name="connsiteY2" fmla="*/ 2642609 h 2642609"/>
              <a:gd name="connsiteX0" fmla="*/ 234778 w 234778"/>
              <a:gd name="connsiteY0" fmla="*/ 0 h 2647371"/>
              <a:gd name="connsiteX1" fmla="*/ 234778 w 234778"/>
              <a:gd name="connsiteY1" fmla="*/ 2500184 h 2647371"/>
              <a:gd name="connsiteX2" fmla="*/ 0 w 234778"/>
              <a:gd name="connsiteY2" fmla="*/ 2647371 h 2647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778" h="2647371">
                <a:moveTo>
                  <a:pt x="234778" y="0"/>
                </a:moveTo>
                <a:lnTo>
                  <a:pt x="234778" y="2500184"/>
                </a:lnTo>
                <a:lnTo>
                  <a:pt x="0" y="2647371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58A9EE15-A736-4B83-A8AD-9C555A103AB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484813" y="768350"/>
            <a:ext cx="6216650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532DFA9D-5800-4F7F-924A-442E4B5302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20518" y="765174"/>
            <a:ext cx="5858744" cy="5327650"/>
          </a:xfrm>
          <a:custGeom>
            <a:avLst/>
            <a:gdLst>
              <a:gd name="connsiteX0" fmla="*/ 4345063 w 5858744"/>
              <a:gd name="connsiteY0" fmla="*/ 758967 h 5327650"/>
              <a:gd name="connsiteX1" fmla="*/ 3887961 w 5858744"/>
              <a:gd name="connsiteY1" fmla="*/ 2663825 h 5327650"/>
              <a:gd name="connsiteX2" fmla="*/ 4345063 w 5858744"/>
              <a:gd name="connsiteY2" fmla="*/ 4568683 h 5327650"/>
              <a:gd name="connsiteX3" fmla="*/ 4802164 w 5858744"/>
              <a:gd name="connsiteY3" fmla="*/ 2663825 h 5327650"/>
              <a:gd name="connsiteX4" fmla="*/ 4345063 w 5858744"/>
              <a:gd name="connsiteY4" fmla="*/ 758967 h 5327650"/>
              <a:gd name="connsiteX5" fmla="*/ 1011810 w 5858744"/>
              <a:gd name="connsiteY5" fmla="*/ 82550 h 5327650"/>
              <a:gd name="connsiteX6" fmla="*/ 2016125 w 5858744"/>
              <a:gd name="connsiteY6" fmla="*/ 82550 h 5327650"/>
              <a:gd name="connsiteX7" fmla="*/ 2016125 w 5858744"/>
              <a:gd name="connsiteY7" fmla="*/ 5275263 h 5327650"/>
              <a:gd name="connsiteX8" fmla="*/ 884397 w 5858744"/>
              <a:gd name="connsiteY8" fmla="*/ 5275263 h 5327650"/>
              <a:gd name="connsiteX9" fmla="*/ 884397 w 5858744"/>
              <a:gd name="connsiteY9" fmla="*/ 1280296 h 5327650"/>
              <a:gd name="connsiteX10" fmla="*/ 0 w 5858744"/>
              <a:gd name="connsiteY10" fmla="*/ 1860571 h 5327650"/>
              <a:gd name="connsiteX11" fmla="*/ 0 w 5858744"/>
              <a:gd name="connsiteY11" fmla="*/ 886007 h 5327650"/>
              <a:gd name="connsiteX12" fmla="*/ 1011810 w 5858744"/>
              <a:gd name="connsiteY12" fmla="*/ 82550 h 5327650"/>
              <a:gd name="connsiteX13" fmla="*/ 4345063 w 5858744"/>
              <a:gd name="connsiteY13" fmla="*/ 0 h 5327650"/>
              <a:gd name="connsiteX14" fmla="*/ 5858744 w 5858744"/>
              <a:gd name="connsiteY14" fmla="*/ 2648943 h 5327650"/>
              <a:gd name="connsiteX15" fmla="*/ 4345063 w 5858744"/>
              <a:gd name="connsiteY15" fmla="*/ 5327650 h 5327650"/>
              <a:gd name="connsiteX16" fmla="*/ 2831381 w 5858744"/>
              <a:gd name="connsiteY16" fmla="*/ 2648943 h 5327650"/>
              <a:gd name="connsiteX17" fmla="*/ 4345063 w 5858744"/>
              <a:gd name="connsiteY17" fmla="*/ 0 h 532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858744" h="5327650">
                <a:moveTo>
                  <a:pt x="4345063" y="758967"/>
                </a:moveTo>
                <a:cubicBezTo>
                  <a:pt x="3895454" y="758967"/>
                  <a:pt x="3887961" y="1064042"/>
                  <a:pt x="3887961" y="2663825"/>
                </a:cubicBezTo>
                <a:cubicBezTo>
                  <a:pt x="3887961" y="4233845"/>
                  <a:pt x="3925428" y="4568683"/>
                  <a:pt x="4345063" y="4568683"/>
                </a:cubicBezTo>
                <a:cubicBezTo>
                  <a:pt x="4764697" y="4568683"/>
                  <a:pt x="4802164" y="4233845"/>
                  <a:pt x="4802164" y="2663825"/>
                </a:cubicBezTo>
                <a:cubicBezTo>
                  <a:pt x="4802164" y="1064042"/>
                  <a:pt x="4794671" y="758967"/>
                  <a:pt x="4345063" y="758967"/>
                </a:cubicBezTo>
                <a:close/>
                <a:moveTo>
                  <a:pt x="1011810" y="82550"/>
                </a:moveTo>
                <a:cubicBezTo>
                  <a:pt x="2016125" y="82550"/>
                  <a:pt x="2016125" y="82550"/>
                  <a:pt x="2016125" y="82550"/>
                </a:cubicBezTo>
                <a:cubicBezTo>
                  <a:pt x="2016125" y="5275263"/>
                  <a:pt x="2016125" y="5275263"/>
                  <a:pt x="2016125" y="5275263"/>
                </a:cubicBezTo>
                <a:cubicBezTo>
                  <a:pt x="884397" y="5275263"/>
                  <a:pt x="884397" y="5275263"/>
                  <a:pt x="884397" y="5275263"/>
                </a:cubicBezTo>
                <a:cubicBezTo>
                  <a:pt x="884397" y="1280296"/>
                  <a:pt x="884397" y="1280296"/>
                  <a:pt x="884397" y="1280296"/>
                </a:cubicBezTo>
                <a:cubicBezTo>
                  <a:pt x="614581" y="1503479"/>
                  <a:pt x="307291" y="1696904"/>
                  <a:pt x="0" y="1860571"/>
                </a:cubicBezTo>
                <a:lnTo>
                  <a:pt x="0" y="886007"/>
                </a:lnTo>
                <a:cubicBezTo>
                  <a:pt x="374745" y="677703"/>
                  <a:pt x="741994" y="432203"/>
                  <a:pt x="1011810" y="82550"/>
                </a:cubicBezTo>
                <a:close/>
                <a:moveTo>
                  <a:pt x="4345063" y="0"/>
                </a:moveTo>
                <a:cubicBezTo>
                  <a:pt x="5633940" y="0"/>
                  <a:pt x="5858744" y="662236"/>
                  <a:pt x="5858744" y="2648943"/>
                </a:cubicBezTo>
                <a:cubicBezTo>
                  <a:pt x="5858744" y="4278490"/>
                  <a:pt x="5753835" y="5327650"/>
                  <a:pt x="4345063" y="5327650"/>
                </a:cubicBezTo>
                <a:cubicBezTo>
                  <a:pt x="2936290" y="5327650"/>
                  <a:pt x="2831381" y="4278490"/>
                  <a:pt x="2831381" y="2648943"/>
                </a:cubicBezTo>
                <a:cubicBezTo>
                  <a:pt x="2831381" y="662236"/>
                  <a:pt x="3056185" y="0"/>
                  <a:pt x="4345063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46703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-Folie_Dual-Vortr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27A0CB72-7552-4FD5-81C9-8126891CC607}"/>
              </a:ext>
            </a:extLst>
          </p:cNvPr>
          <p:cNvSpPr/>
          <p:nvPr userDrawn="1"/>
        </p:nvSpPr>
        <p:spPr>
          <a:xfrm>
            <a:off x="5608325" y="0"/>
            <a:ext cx="4197412" cy="4165172"/>
          </a:xfrm>
          <a:custGeom>
            <a:avLst/>
            <a:gdLst>
              <a:gd name="connsiteX0" fmla="*/ 0 w 4197412"/>
              <a:gd name="connsiteY0" fmla="*/ 0 h 4165172"/>
              <a:gd name="connsiteX1" fmla="*/ 4197412 w 4197412"/>
              <a:gd name="connsiteY1" fmla="*/ 0 h 4165172"/>
              <a:gd name="connsiteX2" fmla="*/ 4197412 w 4197412"/>
              <a:gd name="connsiteY2" fmla="*/ 3598303 h 4165172"/>
              <a:gd name="connsiteX3" fmla="*/ 4197412 w 4197412"/>
              <a:gd name="connsiteY3" fmla="*/ 3948901 h 4165172"/>
              <a:gd name="connsiteX4" fmla="*/ 3877523 w 4197412"/>
              <a:gd name="connsiteY4" fmla="*/ 4165172 h 4165172"/>
              <a:gd name="connsiteX5" fmla="*/ 3152782 w 4197412"/>
              <a:gd name="connsiteY5" fmla="*/ 4165172 h 4165172"/>
              <a:gd name="connsiteX6" fmla="*/ 0 w 4197412"/>
              <a:gd name="connsiteY6" fmla="*/ 4165172 h 4165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7412" h="4165172">
                <a:moveTo>
                  <a:pt x="0" y="0"/>
                </a:moveTo>
                <a:lnTo>
                  <a:pt x="4197412" y="0"/>
                </a:lnTo>
                <a:lnTo>
                  <a:pt x="4197412" y="3598303"/>
                </a:lnTo>
                <a:lnTo>
                  <a:pt x="4197412" y="3948901"/>
                </a:lnTo>
                <a:lnTo>
                  <a:pt x="3877523" y="4165172"/>
                </a:lnTo>
                <a:lnTo>
                  <a:pt x="3152782" y="4165172"/>
                </a:lnTo>
                <a:lnTo>
                  <a:pt x="0" y="4165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0024ED-F493-4039-9FFD-C797244360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87935" y="4329066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140C9C-A356-404D-B3DF-B72B0FD780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911642"/>
            <a:ext cx="4528800" cy="138620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20" name="Platzhalter für Fremdlogos">
            <a:extLst>
              <a:ext uri="{FF2B5EF4-FFF2-40B4-BE49-F238E27FC236}">
                <a16:creationId xmlns:a16="http://schemas.microsoft.com/office/drawing/2014/main" id="{A15A62B3-BDC3-4472-BC89-C7A2F64E2F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56046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Platzhalter für Fremdlogos 1">
            <a:extLst>
              <a:ext uri="{FF2B5EF4-FFF2-40B4-BE49-F238E27FC236}">
                <a16:creationId xmlns:a16="http://schemas.microsoft.com/office/drawing/2014/main" id="{CF92D11E-EBA9-4A24-945B-30F2B7BEC1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9999" y="817639"/>
            <a:ext cx="1156047" cy="625393"/>
          </a:xfrm>
          <a:solidFill>
            <a:schemeClr val="bg1"/>
          </a:solidFill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953590F-B5E8-43B9-9661-84460CE5E8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803105" y="1920358"/>
            <a:ext cx="3764757" cy="65224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artneruni-Logo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9497B39-64F5-4F0E-830C-E283423727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87935" y="5545383"/>
            <a:ext cx="2821227" cy="1052423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Vortragenden</a:t>
            </a:r>
          </a:p>
          <a:p>
            <a:pPr lvl="0"/>
            <a:r>
              <a:rPr lang="de-DE" dirty="0"/>
              <a:t>Lehrstuhl / Institut</a:t>
            </a:r>
          </a:p>
          <a:p>
            <a:pPr lvl="0"/>
            <a:r>
              <a:rPr lang="de-DE" dirty="0"/>
              <a:t>Universität Augsburg</a:t>
            </a:r>
          </a:p>
          <a:p>
            <a:pPr lvl="0"/>
            <a:r>
              <a:rPr lang="de-DE" dirty="0"/>
              <a:t>email@uni-augsburg.de</a:t>
            </a:r>
          </a:p>
          <a:p>
            <a:pPr lvl="0"/>
            <a:r>
              <a:rPr lang="de-DE" dirty="0"/>
              <a:t>www.uni-augsburg.de</a:t>
            </a:r>
          </a:p>
        </p:txBody>
      </p:sp>
    </p:spTree>
    <p:extLst>
      <p:ext uri="{BB962C8B-B14F-4D97-AF65-F5344CB8AC3E}">
        <p14:creationId xmlns:p14="http://schemas.microsoft.com/office/powerpoint/2010/main" val="3641586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E2A15C-36F2-4D8B-8A93-D9D64240FD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801" y="167400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47F7E03-1BC0-4352-B5D7-74FD71D1C7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88853" y="167400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02EB242-6759-421D-A0C7-F4CF101399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801" y="227250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5C34F65-3A66-407A-AC33-9E9AC739BC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8853" y="227250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1E94EB5-4533-46FD-B546-2C7D91C964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801" y="2871012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4A319A0-A115-4B70-A4D5-8BEBE4B718A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8853" y="2871012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A011A145-9E4D-4A7A-BB4B-0532D386D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801" y="3469518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A5CBB88F-7954-4F5B-9A12-2541D2F95E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88853" y="3469518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F35F7BDD-A9F3-4153-B660-5242A2169C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801" y="4068024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FC048C23-9126-42E7-82B5-97EB2F721A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8853" y="4068024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1B91F1B-2C4C-4212-9298-1121AC51EA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8801" y="4666530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F2F1C85-70FA-41E4-AA76-051C378C205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388853" y="4666530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EAF962C-F9F1-4077-883E-342B185C22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801" y="5265036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E1706DB-CE29-4A10-903E-B98EFF5F7D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88853" y="5265036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0CFC27-004E-40B1-907C-BD2C10998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801" y="5863545"/>
            <a:ext cx="452077" cy="454456"/>
          </a:xfrm>
          <a:ln w="6350">
            <a:solidFill>
              <a:schemeClr val="tx2"/>
            </a:solidFill>
          </a:ln>
        </p:spPr>
        <p:txBody>
          <a:bodyPr anchor="ctr"/>
          <a:lstStyle>
            <a:lvl1pPr algn="ctr">
              <a:spcBef>
                <a:spcPts val="0"/>
              </a:spcBef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600778BA-EA2B-4461-92EE-2515F92A6CC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388853" y="5863545"/>
            <a:ext cx="10083148" cy="454456"/>
          </a:xfrm>
        </p:spPr>
        <p:txBody>
          <a:bodyPr anchor="ctr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FFFAAF7-A186-463C-8A57-2967A904EC2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38B0277-B24A-455C-B618-B1CC535BB07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dirty="0"/>
              <a:t>|    Fußzeile Universität Augsbur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4A83BA-0D79-41BA-AB81-54F0ECD7AD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33E0BAB-92C8-487C-922B-2967EA55C038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270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2F00719E-AEFE-40BF-8FAF-96026E0CB3E3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457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F3191B-4AC7-4174-A149-F6438EA62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DF57CA-FDD8-4477-8838-954978A022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8" y="1674000"/>
            <a:ext cx="5196001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1B25B6-EA2C-412E-A643-20DC8008D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7800" y="1674000"/>
            <a:ext cx="5194800" cy="464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FDF8825B-3245-4662-AA31-A835325A629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30A947-F9C9-4338-985F-6640D3DACA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328F92-46E9-44F4-AACE-AC3B5106AD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388D70-D393-490E-823B-019BFCD2A8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EF240D4-D025-4F47-AD9B-871B6AE1E33B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11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EE4D9F-AC7A-4F8D-AC64-47E047663F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C1F0A7B3-7902-4E64-A96A-2B8FD953AE8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4243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B645276-BF98-443B-8257-0168D87821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128799" y="1674000"/>
            <a:ext cx="3344400" cy="4644000"/>
          </a:xfrm>
        </p:spPr>
        <p:txBody>
          <a:bodyPr/>
          <a:lstStyle>
            <a:lvl5pPr>
              <a:spcBef>
                <a:spcPts val="24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E4811EB-2863-4359-BDFD-9EDD3692D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21B2CDA-444B-4D1C-84B6-C58E2001FD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400" y="1181818"/>
            <a:ext cx="10753200" cy="36660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E09A1A4-66FB-4BBF-B3D3-82C3A7E41C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4D21F0-0C2D-40CB-B9DB-55864772B0A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CC5A95F-83E3-4397-B18C-8F3003F1CE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FA93747-F558-41F7-A8CE-1CAD320F6A0D}"/>
              </a:ext>
            </a:extLst>
          </p:cNvPr>
          <p:cNvCxnSpPr>
            <a:cxnSpLocks/>
          </p:cNvCxnSpPr>
          <p:nvPr userDrawn="1"/>
        </p:nvCxnSpPr>
        <p:spPr>
          <a:xfrm>
            <a:off x="719999" y="1100617"/>
            <a:ext cx="1147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427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002517-676E-406E-9CC8-F34071CE2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0001" y="6500393"/>
            <a:ext cx="319318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67D7EC-8799-48C5-898A-08E26497206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50694B-33D5-45A5-B9F0-605F670D5E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443" y="6500393"/>
            <a:ext cx="806400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15.02.2019</a:t>
            </a:r>
            <a:endParaRPr lang="de-DE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7C29D3-2D73-4F49-B56E-D32513508E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5866" y="6500393"/>
            <a:ext cx="7296537" cy="2174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|    Fußzeile Universität Augsbur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108140-EA1D-4506-BABD-AF3485301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674000"/>
            <a:ext cx="107532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695CCD-AB97-47A6-B356-2E5EB2D33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179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7" name="Farbakzent links">
            <a:extLst>
              <a:ext uri="{FF2B5EF4-FFF2-40B4-BE49-F238E27FC236}">
                <a16:creationId xmlns:a16="http://schemas.microsoft.com/office/drawing/2014/main" id="{9D9C0A71-6028-48D4-B0A9-8857E5EE332A}"/>
              </a:ext>
            </a:extLst>
          </p:cNvPr>
          <p:cNvSpPr/>
          <p:nvPr userDrawn="1"/>
        </p:nvSpPr>
        <p:spPr>
          <a:xfrm>
            <a:off x="1" y="0"/>
            <a:ext cx="231229" cy="2644002"/>
          </a:xfrm>
          <a:custGeom>
            <a:avLst/>
            <a:gdLst>
              <a:gd name="connsiteX0" fmla="*/ 0 w 231229"/>
              <a:gd name="connsiteY0" fmla="*/ 0 h 2644002"/>
              <a:gd name="connsiteX1" fmla="*/ 231229 w 231229"/>
              <a:gd name="connsiteY1" fmla="*/ 0 h 2644002"/>
              <a:gd name="connsiteX2" fmla="*/ 231229 w 231229"/>
              <a:gd name="connsiteY2" fmla="*/ 427848 h 2644002"/>
              <a:gd name="connsiteX3" fmla="*/ 231229 w 231229"/>
              <a:gd name="connsiteY3" fmla="*/ 1100610 h 2644002"/>
              <a:gd name="connsiteX4" fmla="*/ 231229 w 231229"/>
              <a:gd name="connsiteY4" fmla="*/ 2499514 h 2644002"/>
              <a:gd name="connsiteX5" fmla="*/ 0 w 231229"/>
              <a:gd name="connsiteY5" fmla="*/ 2644002 h 2644002"/>
              <a:gd name="connsiteX6" fmla="*/ 0 w 231229"/>
              <a:gd name="connsiteY6" fmla="*/ 1100610 h 2644002"/>
              <a:gd name="connsiteX7" fmla="*/ 0 w 231229"/>
              <a:gd name="connsiteY7" fmla="*/ 427848 h 264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1229" h="2644002">
                <a:moveTo>
                  <a:pt x="0" y="0"/>
                </a:moveTo>
                <a:lnTo>
                  <a:pt x="231229" y="0"/>
                </a:lnTo>
                <a:lnTo>
                  <a:pt x="231229" y="427848"/>
                </a:lnTo>
                <a:lnTo>
                  <a:pt x="231229" y="1100610"/>
                </a:lnTo>
                <a:lnTo>
                  <a:pt x="231229" y="2499514"/>
                </a:lnTo>
                <a:lnTo>
                  <a:pt x="0" y="2644002"/>
                </a:lnTo>
                <a:lnTo>
                  <a:pt x="0" y="1100610"/>
                </a:lnTo>
                <a:lnTo>
                  <a:pt x="0" y="42784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0789B94-3BA2-4579-B5BA-A91701BC21A2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0965221" y="6411885"/>
            <a:ext cx="507978" cy="30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17" r:id="rId2"/>
    <p:sldLayoutId id="2147483735" r:id="rId3"/>
    <p:sldLayoutId id="2147483734" r:id="rId4"/>
    <p:sldLayoutId id="2147483724" r:id="rId5"/>
    <p:sldLayoutId id="2147483693" r:id="rId6"/>
    <p:sldLayoutId id="2147483650" r:id="rId7"/>
    <p:sldLayoutId id="2147483652" r:id="rId8"/>
    <p:sldLayoutId id="2147483700" r:id="rId9"/>
    <p:sldLayoutId id="2147483701" r:id="rId10"/>
    <p:sldLayoutId id="2147483653" r:id="rId11"/>
    <p:sldLayoutId id="2147483692" r:id="rId12"/>
    <p:sldLayoutId id="2147483704" r:id="rId13"/>
    <p:sldLayoutId id="2147483705" r:id="rId14"/>
    <p:sldLayoutId id="2147483707" r:id="rId15"/>
    <p:sldLayoutId id="2147483654" r:id="rId16"/>
    <p:sldLayoutId id="2147483733" r:id="rId17"/>
    <p:sldLayoutId id="2147483737" r:id="rId18"/>
    <p:sldLayoutId id="2147483684" r:id="rId19"/>
    <p:sldLayoutId id="2147483698" r:id="rId20"/>
    <p:sldLayoutId id="2147483697" r:id="rId21"/>
    <p:sldLayoutId id="2147483685" r:id="rId22"/>
    <p:sldLayoutId id="2147483681" r:id="rId23"/>
    <p:sldLayoutId id="2147483703" r:id="rId24"/>
    <p:sldLayoutId id="2147483736" r:id="rId25"/>
    <p:sldLayoutId id="2147483686" r:id="rId26"/>
    <p:sldLayoutId id="2147483687" r:id="rId27"/>
    <p:sldLayoutId id="2147483690" r:id="rId28"/>
    <p:sldLayoutId id="2147483696" r:id="rId29"/>
    <p:sldLayoutId id="2147483679" r:id="rId30"/>
    <p:sldLayoutId id="2147483682" r:id="rId31"/>
    <p:sldLayoutId id="2147483678" r:id="rId32"/>
    <p:sldLayoutId id="2147483675" r:id="rId33"/>
    <p:sldLayoutId id="2147483688" r:id="rId34"/>
    <p:sldLayoutId id="2147483723" r:id="rId35"/>
    <p:sldLayoutId id="2147483699" r:id="rId36"/>
    <p:sldLayoutId id="2147483722" r:id="rId37"/>
    <p:sldLayoutId id="2147483738" r:id="rId38"/>
    <p:sldLayoutId id="2147483709" r:id="rId39"/>
    <p:sldLayoutId id="2147483710" r:id="rId40"/>
    <p:sldLayoutId id="2147483708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600" indent="0" algn="l" defTabSz="914400" rtl="0" eaLnBrk="1" latinLnBrk="0" hangingPunct="1">
        <a:lnSpc>
          <a:spcPct val="100000"/>
        </a:lnSpc>
        <a:spcBef>
          <a:spcPts val="1200"/>
        </a:spcBef>
        <a:buClr>
          <a:srgbClr val="AD007C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12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0"/>
        </a:spcAft>
        <a:buClr>
          <a:srgbClr val="AD007C"/>
        </a:buClr>
        <a:buFont typeface="Wingdings" panose="05000000000000000000" pitchFamily="2" charset="2"/>
        <a:buNone/>
        <a:defRPr sz="1800" kern="1200" cap="none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6" userDrawn="1">
          <p15:clr>
            <a:srgbClr val="F26B43"/>
          </p15:clr>
        </p15:guide>
        <p15:guide id="4" pos="72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  <p15:guide id="6" orient="horz" pos="592" userDrawn="1">
          <p15:clr>
            <a:srgbClr val="F26B43"/>
          </p15:clr>
        </p15:guide>
        <p15:guide id="7" orient="horz" pos="3976" userDrawn="1">
          <p15:clr>
            <a:srgbClr val="F26B43"/>
          </p15:clr>
        </p15:guide>
        <p15:guide id="8" orient="horz" pos="904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5120" userDrawn="1">
          <p15:clr>
            <a:srgbClr val="F26B43"/>
          </p15:clr>
        </p15:guide>
        <p15:guide id="11" pos="2784" userDrawn="1">
          <p15:clr>
            <a:srgbClr val="F26B43"/>
          </p15:clr>
        </p15:guide>
        <p15:guide id="12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6.svg"/><Relationship Id="rId18" Type="http://schemas.openxmlformats.org/officeDocument/2006/relationships/image" Target="../media/image11.png"/><Relationship Id="rId26" Type="http://schemas.openxmlformats.org/officeDocument/2006/relationships/image" Target="../media/image19.png"/><Relationship Id="rId3" Type="http://schemas.openxmlformats.org/officeDocument/2006/relationships/tags" Target="../tags/tag8.xml"/><Relationship Id="rId21" Type="http://schemas.openxmlformats.org/officeDocument/2006/relationships/image" Target="../media/image14.svg"/><Relationship Id="rId7" Type="http://schemas.openxmlformats.org/officeDocument/2006/relationships/tags" Target="../tags/tag12.xml"/><Relationship Id="rId12" Type="http://schemas.openxmlformats.org/officeDocument/2006/relationships/image" Target="../media/image5.png"/><Relationship Id="rId17" Type="http://schemas.openxmlformats.org/officeDocument/2006/relationships/image" Target="../media/image10.svg"/><Relationship Id="rId25" Type="http://schemas.openxmlformats.org/officeDocument/2006/relationships/image" Target="../media/image18.svg"/><Relationship Id="rId2" Type="http://schemas.openxmlformats.org/officeDocument/2006/relationships/tags" Target="../tags/tag7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29" Type="http://schemas.openxmlformats.org/officeDocument/2006/relationships/image" Target="../media/image22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2.xml"/><Relationship Id="rId24" Type="http://schemas.openxmlformats.org/officeDocument/2006/relationships/image" Target="../media/image17.png"/><Relationship Id="rId5" Type="http://schemas.openxmlformats.org/officeDocument/2006/relationships/tags" Target="../tags/tag10.xml"/><Relationship Id="rId15" Type="http://schemas.openxmlformats.org/officeDocument/2006/relationships/image" Target="../media/image8.svg"/><Relationship Id="rId23" Type="http://schemas.openxmlformats.org/officeDocument/2006/relationships/image" Target="../media/image16.svg"/><Relationship Id="rId28" Type="http://schemas.openxmlformats.org/officeDocument/2006/relationships/image" Target="../media/image21.png"/><Relationship Id="rId10" Type="http://schemas.openxmlformats.org/officeDocument/2006/relationships/tags" Target="../tags/tag15.xml"/><Relationship Id="rId19" Type="http://schemas.openxmlformats.org/officeDocument/2006/relationships/image" Target="../media/image12.sv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7.png"/><Relationship Id="rId22" Type="http://schemas.openxmlformats.org/officeDocument/2006/relationships/image" Target="../media/image15.png"/><Relationship Id="rId27" Type="http://schemas.openxmlformats.org/officeDocument/2006/relationships/image" Target="../media/image20.sv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3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39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7.png"/><Relationship Id="rId18" Type="http://schemas.openxmlformats.org/officeDocument/2006/relationships/image" Target="../media/image12.svg"/><Relationship Id="rId26" Type="http://schemas.openxmlformats.org/officeDocument/2006/relationships/image" Target="../media/image20.svg"/><Relationship Id="rId3" Type="http://schemas.openxmlformats.org/officeDocument/2006/relationships/tags" Target="../tags/tag18.xml"/><Relationship Id="rId21" Type="http://schemas.openxmlformats.org/officeDocument/2006/relationships/image" Target="../media/image15.png"/><Relationship Id="rId7" Type="http://schemas.openxmlformats.org/officeDocument/2006/relationships/tags" Target="../tags/tag22.xml"/><Relationship Id="rId12" Type="http://schemas.openxmlformats.org/officeDocument/2006/relationships/image" Target="../media/image6.svg"/><Relationship Id="rId17" Type="http://schemas.openxmlformats.org/officeDocument/2006/relationships/image" Target="../media/image11.png"/><Relationship Id="rId25" Type="http://schemas.openxmlformats.org/officeDocument/2006/relationships/image" Target="../media/image19.png"/><Relationship Id="rId2" Type="http://schemas.openxmlformats.org/officeDocument/2006/relationships/tags" Target="../tags/tag17.xml"/><Relationship Id="rId16" Type="http://schemas.openxmlformats.org/officeDocument/2006/relationships/image" Target="../media/image10.svg"/><Relationship Id="rId20" Type="http://schemas.openxmlformats.org/officeDocument/2006/relationships/image" Target="../media/image14.sv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5.png"/><Relationship Id="rId24" Type="http://schemas.openxmlformats.org/officeDocument/2006/relationships/image" Target="../media/image18.svg"/><Relationship Id="rId5" Type="http://schemas.openxmlformats.org/officeDocument/2006/relationships/tags" Target="../tags/tag20.xml"/><Relationship Id="rId15" Type="http://schemas.openxmlformats.org/officeDocument/2006/relationships/image" Target="../media/image9.png"/><Relationship Id="rId23" Type="http://schemas.openxmlformats.org/officeDocument/2006/relationships/image" Target="../media/image17.png"/><Relationship Id="rId28" Type="http://schemas.openxmlformats.org/officeDocument/2006/relationships/image" Target="../media/image22.svg"/><Relationship Id="rId10" Type="http://schemas.openxmlformats.org/officeDocument/2006/relationships/slideLayout" Target="../slideLayouts/slideLayout5.xml"/><Relationship Id="rId19" Type="http://schemas.openxmlformats.org/officeDocument/2006/relationships/image" Target="../media/image13.png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8.svg"/><Relationship Id="rId22" Type="http://schemas.openxmlformats.org/officeDocument/2006/relationships/image" Target="../media/image16.svg"/><Relationship Id="rId27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844449-0B25-40A7-BD87-0C94E6A3CA60}"/>
              </a:ext>
            </a:extLst>
          </p:cNvPr>
          <p:cNvSpPr>
            <a:spLocks noGrp="1" noMove="1" noResize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dirty="0"/>
              <a:t>Hackerethik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C9C036FB-C9D2-4591-86A2-E9E673AAAC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Untertitel / fester Hintergrund</a:t>
            </a:r>
          </a:p>
          <a:p>
            <a:r>
              <a:rPr lang="de-DE" dirty="0"/>
              <a:t>Luca Alfano, Frantz Prochaska</a:t>
            </a:r>
          </a:p>
          <a:p>
            <a:r>
              <a:rPr lang="de-DE" dirty="0"/>
              <a:t>21.02.2022 und Augsburg</a:t>
            </a:r>
          </a:p>
        </p:txBody>
      </p:sp>
      <p:pic>
        <p:nvPicPr>
          <p:cNvPr id="14" name="Logo_Basis_neg." hidden="1">
            <a:extLst>
              <a:ext uri="{FF2B5EF4-FFF2-40B4-BE49-F238E27FC236}">
                <a16:creationId xmlns:a16="http://schemas.microsoft.com/office/drawing/2014/main" id="{BB0358A7-6314-4317-B9A8-ED88AD107ADA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5" name="Logo_FAI_neg.">
            <a:extLst>
              <a:ext uri="{FF2B5EF4-FFF2-40B4-BE49-F238E27FC236}">
                <a16:creationId xmlns:a16="http://schemas.microsoft.com/office/drawing/2014/main" id="{E06FABA5-36D0-4DC0-94BA-1B19FDC7911F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6" name="Logo_JUF_neg." hidden="1">
            <a:extLst>
              <a:ext uri="{FF2B5EF4-FFF2-40B4-BE49-F238E27FC236}">
                <a16:creationId xmlns:a16="http://schemas.microsoft.com/office/drawing/2014/main" id="{0B398B1D-08AF-4FDC-8B79-7443E21DD094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7" name="Logo_KTF_neg." hidden="1">
            <a:extLst>
              <a:ext uri="{FF2B5EF4-FFF2-40B4-BE49-F238E27FC236}">
                <a16:creationId xmlns:a16="http://schemas.microsoft.com/office/drawing/2014/main" id="{141DFD45-EA8D-413E-8CCC-2C6BBAF7BD6D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8" name="Logo_MEF_neg." hidden="1">
            <a:extLst>
              <a:ext uri="{FF2B5EF4-FFF2-40B4-BE49-F238E27FC236}">
                <a16:creationId xmlns:a16="http://schemas.microsoft.com/office/drawing/2014/main" id="{7962D77E-B001-476F-A8F8-FCF994C7F538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19" name="Logo_MNTF_neg." hidden="1">
            <a:extLst>
              <a:ext uri="{FF2B5EF4-FFF2-40B4-BE49-F238E27FC236}">
                <a16:creationId xmlns:a16="http://schemas.microsoft.com/office/drawing/2014/main" id="{E2CCCC58-F5AE-4141-BB4D-217B271EAF20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0" name="Logo_PHF_neg." hidden="1">
            <a:extLst>
              <a:ext uri="{FF2B5EF4-FFF2-40B4-BE49-F238E27FC236}">
                <a16:creationId xmlns:a16="http://schemas.microsoft.com/office/drawing/2014/main" id="{B38C48F9-6262-4647-8E95-5DBA20D27ACF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1" name="Logo_PSF_neg." hidden="1">
            <a:extLst>
              <a:ext uri="{FF2B5EF4-FFF2-40B4-BE49-F238E27FC236}">
                <a16:creationId xmlns:a16="http://schemas.microsoft.com/office/drawing/2014/main" id="{31604210-6B50-4703-8445-4E06CD588D60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  <p:pic>
        <p:nvPicPr>
          <p:cNvPr id="22" name="Logo_WWF_neg." hidden="1">
            <a:extLst>
              <a:ext uri="{FF2B5EF4-FFF2-40B4-BE49-F238E27FC236}">
                <a16:creationId xmlns:a16="http://schemas.microsoft.com/office/drawing/2014/main" id="{3B3FBDC5-2D73-45B4-BBE4-09C07B3E3C82}"/>
              </a:ext>
            </a:extLst>
          </p:cNvPr>
          <p:cNvPicPr>
            <a:picLocks noMove="1" noResize="1"/>
          </p:cNvPicPr>
          <p:nvPr>
            <p:custDataLst>
              <p:tags r:id="rId10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969023" y="611349"/>
            <a:ext cx="5131975" cy="91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5390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C7C105A-CAF0-43F8-A90D-7BC42103A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etuer</a:t>
            </a:r>
            <a:r>
              <a:rPr lang="de-DE" dirty="0"/>
              <a:t> 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2C3869DD-08B3-42D8-AF37-C8A41F584E2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orci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eros</a:t>
            </a:r>
            <a:r>
              <a:rPr lang="de-DE" dirty="0"/>
              <a:t> </a:t>
            </a:r>
            <a:r>
              <a:rPr lang="de-DE" dirty="0" err="1"/>
              <a:t>faucibus</a:t>
            </a:r>
            <a:r>
              <a:rPr lang="de-DE" dirty="0"/>
              <a:t> </a:t>
            </a:r>
            <a:r>
              <a:rPr lang="de-DE" dirty="0" err="1"/>
              <a:t>tincidunt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95A146-5ABC-4BE6-8448-5D411295221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F2A2EE9-8D39-44C2-A7FD-C44461BCB2D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6C48DBD-4231-478F-A991-BD0A230EBE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72243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1EDFE862-961C-4AEE-B090-99698C08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etuer</a:t>
            </a:r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69875-183B-4A2C-B60F-563D6796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DA611D-9143-45E8-B7AC-43C36712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976A7F-B10F-4D84-B922-A9E44B20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7810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dplatzhalter 19">
            <a:extLst>
              <a:ext uri="{FF2B5EF4-FFF2-40B4-BE49-F238E27FC236}">
                <a16:creationId xmlns:a16="http://schemas.microsoft.com/office/drawing/2014/main" id="{4E181CA3-7471-4B47-BCEC-3492BAED736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5" name="Titel 14">
            <a:extLst>
              <a:ext uri="{FF2B5EF4-FFF2-40B4-BE49-F238E27FC236}">
                <a16:creationId xmlns:a16="http://schemas.microsoft.com/office/drawing/2014/main" id="{F679AD55-8C38-40F8-9777-B391741D86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etuer</a:t>
            </a:r>
            <a:r>
              <a:rPr lang="de-DE" dirty="0"/>
              <a:t> </a:t>
            </a:r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8251B92D-4F1E-4723-A974-3EA9A1D5A880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</a:p>
          <a:p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</a:t>
            </a:r>
          </a:p>
          <a:p>
            <a:endParaRPr lang="de-DE" dirty="0"/>
          </a:p>
        </p:txBody>
      </p:sp>
      <p:sp>
        <p:nvSpPr>
          <p:cNvPr id="17" name="Untertitel 16">
            <a:extLst>
              <a:ext uri="{FF2B5EF4-FFF2-40B4-BE49-F238E27FC236}">
                <a16:creationId xmlns:a16="http://schemas.microsoft.com/office/drawing/2014/main" id="{B876B650-75FB-47D9-BE0A-8573E8132F7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/>
              <a:t>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imperdiet</a:t>
            </a:r>
            <a:r>
              <a:rPr lang="de-DE" dirty="0"/>
              <a:t> a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BCE68C1-EAEA-45FD-89D0-D8BC53794DD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334AD9-B486-4256-92FA-7D9EEAAB6CF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0C98FD1-4784-4905-BD2B-5D7116BC3B3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76157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18">
            <a:extLst>
              <a:ext uri="{FF2B5EF4-FFF2-40B4-BE49-F238E27FC236}">
                <a16:creationId xmlns:a16="http://schemas.microsoft.com/office/drawing/2014/main" id="{BFD64E4E-EFE4-4757-9D07-13D50BB966D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2"/>
          <a:stretch/>
        </p:blipFill>
        <p:spPr>
          <a:xfrm>
            <a:off x="6277800" y="1674000"/>
            <a:ext cx="5194800" cy="4644000"/>
          </a:xfrm>
        </p:spPr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4FF9EEC8-6056-4F5F-99E2-A60EE65FBF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etuer</a:t>
            </a:r>
            <a:r>
              <a:rPr lang="de-DE" dirty="0"/>
              <a:t> 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D3B2F015-E6C7-40E9-B159-264E956C50C1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nisi. </a:t>
            </a:r>
          </a:p>
          <a:p>
            <a:pPr lvl="1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</a:t>
            </a: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D5A48A73-20FC-4582-B433-3FDDED8EAA4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 </a:t>
            </a:r>
            <a:r>
              <a:rPr lang="de-DE" dirty="0" err="1"/>
              <a:t>sapien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86029D-AE11-4AF5-8725-4431138F895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A5D97DE-0F08-4F34-8365-05CF441882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74E57B5-8896-4754-9653-4934BE6D0DD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15CC4B8-75BB-465C-96C1-E0A8B343A6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7113254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48F14CEB-E18D-43B0-903A-CBE1C5EB6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etuer</a:t>
            </a:r>
            <a:r>
              <a:rPr lang="de-DE" dirty="0"/>
              <a:t> 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C456FE3F-64AC-40A1-A31C-E493D37C633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</a:p>
          <a:p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</a:p>
          <a:p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 </a:t>
            </a:r>
          </a:p>
        </p:txBody>
      </p:sp>
      <p:sp>
        <p:nvSpPr>
          <p:cNvPr id="12" name="Untertitel 11">
            <a:extLst>
              <a:ext uri="{FF2B5EF4-FFF2-40B4-BE49-F238E27FC236}">
                <a16:creationId xmlns:a16="http://schemas.microsoft.com/office/drawing/2014/main" id="{268A6595-6A91-4BFE-B428-91559702FF3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 </a:t>
            </a:r>
            <a:r>
              <a:rPr lang="de-DE" dirty="0" err="1"/>
              <a:t>sapien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02E0C19-3050-4034-91E0-9DC0F6E9093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7921837-814E-4369-9F14-4153418EE6E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1E789EC-E385-4F52-AB37-B01A6EC53E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4</a:t>
            </a:fld>
            <a:endParaRPr lang="de-DE" dirty="0"/>
          </a:p>
        </p:txBody>
      </p:sp>
      <p:pic>
        <p:nvPicPr>
          <p:cNvPr id="16" name="Bildplatzhalter 15">
            <a:extLst>
              <a:ext uri="{FF2B5EF4-FFF2-40B4-BE49-F238E27FC236}">
                <a16:creationId xmlns:a16="http://schemas.microsoft.com/office/drawing/2014/main" id="{0ACD3D5F-BBC0-418E-BD90-8D5D9E79EFD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7"/>
          <a:stretch/>
        </p:blipFill>
        <p:spPr>
          <a:xfrm>
            <a:off x="4423800" y="1674000"/>
            <a:ext cx="7048800" cy="4644000"/>
          </a:xfrm>
        </p:spPr>
      </p:pic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3A02AB6-228B-4DE1-BB9C-3C2923C7B3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6499255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platzhalter 20">
            <a:extLst>
              <a:ext uri="{FF2B5EF4-FFF2-40B4-BE49-F238E27FC236}">
                <a16:creationId xmlns:a16="http://schemas.microsoft.com/office/drawing/2014/main" id="{0CFA0857-C8E8-4E32-A114-BE946CD0C56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D8A9AB99-0382-4D76-A851-4154A3A834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etuer</a:t>
            </a:r>
            <a:r>
              <a:rPr lang="de-DE" dirty="0"/>
              <a:t> </a:t>
            </a:r>
          </a:p>
        </p:txBody>
      </p:sp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2A7F0321-E2D2-4B80-A371-FD380B2F36E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0" name="Untertitel 9">
            <a:extLst>
              <a:ext uri="{FF2B5EF4-FFF2-40B4-BE49-F238E27FC236}">
                <a16:creationId xmlns:a16="http://schemas.microsoft.com/office/drawing/2014/main" id="{FACEBF59-8F80-4A11-BA42-09F5DCC6968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nisi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endParaRPr lang="de-DE" dirty="0"/>
          </a:p>
        </p:txBody>
      </p:sp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A3346B5B-9697-44CA-90D7-81A1613DAAC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B868CC3E-6F66-4EDD-BACB-32972DF7CA9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678207E3-75F8-4772-8E18-33858BC5227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9321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44C5F15A-E443-4620-BBE9-F65DFBD4588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E4E048F-501E-4F9E-A1DB-BD91D8706A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.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.</a:t>
            </a:r>
          </a:p>
        </p:txBody>
      </p:sp>
    </p:spTree>
    <p:extLst>
      <p:ext uri="{BB962C8B-B14F-4D97-AF65-F5344CB8AC3E}">
        <p14:creationId xmlns:p14="http://schemas.microsoft.com/office/powerpoint/2010/main" val="18934921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DE652EC8-F7BA-4D83-B60C-8240994C803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</p:spTree>
    <p:extLst>
      <p:ext uri="{BB962C8B-B14F-4D97-AF65-F5344CB8AC3E}">
        <p14:creationId xmlns:p14="http://schemas.microsoft.com/office/powerpoint/2010/main" val="16668597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0B0F-9DFE-4059-BA28-5F54037AAF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2131946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0BC5788F-32E7-4C06-942E-D69A5D4D358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E2F7DF6-3C84-416F-A643-D059245702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190CCC7-6D65-48F4-8CF6-369B73E870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6669300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4114008-611E-442A-A754-CD9D9F772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004A7FA-E887-4B62-8B7A-F0F1CE7A57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E27A5B-619E-4463-886D-6CA74148F9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-Pun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D58C145-E0A9-433C-878E-3CB0D229B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DA6802-F644-47B9-A970-15278C240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Agenda-Punk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6FA53A8-133D-4065-AE39-D064EC2923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8A5245-99B2-4A44-806A-CF23BB4251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Agenda-Punk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C38C929-DB4C-4BA5-8DD3-9A4FB5DA80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8E507F6-6689-4AFB-B3EF-C8BA2FE519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Agenda-Punkt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A8160A0-DAFD-454B-881E-1239CFBC7EC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2DDE3C1A-D220-4967-B006-B2121B16A98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Agenda-Punk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A9DD9CF-6EF5-49F9-967F-1F4BAD7C8DB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6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F185D0F-8F47-4370-BC15-0EDB18FB25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Agenda-Punkt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32483089-B731-41B1-B93D-A2C5776BDD5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7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BBC61C7-2C81-4ED4-87E9-4824CE45A60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Agenda-Punkt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50CC9D5-96CC-4580-8393-950FD558EB7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 dirty="0"/>
              <a:t>8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7441F932-2F80-407D-AE34-4D9F1ECDF5D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Agenda-Punkt</a:t>
            </a:r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27D149F8-175B-4081-965E-C02F9D10511B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07B0A01A-B7B8-4479-897B-050E784E80E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0ED7ED-E9C4-4638-AE85-2B7C1966689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89273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95DF8FC6-537B-4A03-AF7F-D5B7BDA6B4D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E2F7DF6-3C84-416F-A643-D059245702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 err="1"/>
              <a:t>Aenean</a:t>
            </a:r>
            <a:r>
              <a:rPr lang="fr-FR" dirty="0"/>
              <a:t> massa 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mu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190CCC7-6D65-48F4-8CF6-369B73E870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13228259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FEAD60-5EDD-484F-BC69-759C25BFF6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2E9F90A-0504-410E-9924-CB8085D3EEB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solidFill>
            <a:schemeClr val="bg1"/>
          </a:solidFill>
        </p:spPr>
      </p:sp>
    </p:spTree>
    <p:extLst>
      <p:ext uri="{BB962C8B-B14F-4D97-AF65-F5344CB8AC3E}">
        <p14:creationId xmlns:p14="http://schemas.microsoft.com/office/powerpoint/2010/main" val="5682084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FEAD60-5EDD-484F-BC69-759C25BFF6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2E9F90A-0504-410E-9924-CB8085D3EEB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noFill/>
          <a:ln w="12700">
            <a:solidFill>
              <a:schemeClr val="bg1"/>
            </a:solidFill>
          </a:ln>
        </p:spPr>
      </p:sp>
    </p:spTree>
    <p:extLst>
      <p:ext uri="{BB962C8B-B14F-4D97-AF65-F5344CB8AC3E}">
        <p14:creationId xmlns:p14="http://schemas.microsoft.com/office/powerpoint/2010/main" val="294577236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FEAD60-5EDD-484F-BC69-759C25BFF6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</a:t>
            </a:r>
          </a:p>
        </p:txBody>
      </p:sp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D7E6FC74-C346-4F9D-9C65-2BCED47A123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8850" y="765175"/>
            <a:ext cx="5561013" cy="5324475"/>
          </a:xfrm>
        </p:spPr>
      </p:pic>
    </p:spTree>
    <p:extLst>
      <p:ext uri="{BB962C8B-B14F-4D97-AF65-F5344CB8AC3E}">
        <p14:creationId xmlns:p14="http://schemas.microsoft.com/office/powerpoint/2010/main" val="30934713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58C8EFD-8ED2-4999-8070-BAD8FBC267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Luca Alfano</a:t>
            </a:r>
          </a:p>
          <a:p>
            <a:r>
              <a:rPr lang="de-DE" dirty="0"/>
              <a:t>Lehrstuhl / Institut</a:t>
            </a:r>
          </a:p>
          <a:p>
            <a:r>
              <a:rPr lang="de-DE" dirty="0"/>
              <a:t>Universität Augsburg</a:t>
            </a:r>
          </a:p>
          <a:p>
            <a:r>
              <a:rPr lang="de-DE" dirty="0" err="1"/>
              <a:t>email@uni-augsburg.d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C3ADB8D-A92F-4059-B0DE-2A8BCAFF3B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Vielen Dank für Ihre Aufmerksamkeit</a:t>
            </a:r>
          </a:p>
          <a:p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C7495D9-6FF6-448E-9076-97779994C90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3C373004-4E37-4823-A1BC-8DCB3D7170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ntz Prochaska</a:t>
            </a:r>
          </a:p>
          <a:p>
            <a:r>
              <a:rPr lang="de-DE" dirty="0"/>
              <a:t>Lehrstuhl / Institut</a:t>
            </a:r>
          </a:p>
          <a:p>
            <a:r>
              <a:rPr lang="de-DE" dirty="0"/>
              <a:t>Universität</a:t>
            </a:r>
          </a:p>
          <a:p>
            <a:r>
              <a:rPr lang="de-DE" dirty="0"/>
              <a:t>email</a:t>
            </a:r>
          </a:p>
        </p:txBody>
      </p:sp>
      <p:pic>
        <p:nvPicPr>
          <p:cNvPr id="17" name="Logo_Basis_neg." hidden="1">
            <a:extLst>
              <a:ext uri="{FF2B5EF4-FFF2-40B4-BE49-F238E27FC236}">
                <a16:creationId xmlns:a16="http://schemas.microsoft.com/office/drawing/2014/main" id="{6AC61FE3-5CBC-418D-98AD-C9A9EF9BD2A5}"/>
              </a:ext>
            </a:extLst>
          </p:cNvPr>
          <p:cNvPicPr>
            <a:picLocks noMove="1" noResize="1"/>
          </p:cNvPicPr>
          <p:nvPr>
            <p:custDataLst>
              <p:tags r:id="rId1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8" name="Logo_FAI_neg.">
            <a:extLst>
              <a:ext uri="{FF2B5EF4-FFF2-40B4-BE49-F238E27FC236}">
                <a16:creationId xmlns:a16="http://schemas.microsoft.com/office/drawing/2014/main" id="{8CD572CD-A2C6-4C77-95C5-2BD938D806DD}"/>
              </a:ext>
            </a:extLst>
          </p:cNvPr>
          <p:cNvPicPr>
            <a:picLocks noMove="1" noResize="1"/>
          </p:cNvPicPr>
          <p:nvPr>
            <p:custDataLst>
              <p:tags r:id="rId2"/>
            </p:custDataLst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19" name="Logo_JUF_neg." hidden="1">
            <a:extLst>
              <a:ext uri="{FF2B5EF4-FFF2-40B4-BE49-F238E27FC236}">
                <a16:creationId xmlns:a16="http://schemas.microsoft.com/office/drawing/2014/main" id="{8C938CBF-B102-4F16-9D88-4F080ECB021C}"/>
              </a:ext>
            </a:extLst>
          </p:cNvPr>
          <p:cNvPicPr>
            <a:picLocks noMove="1" noResize="1"/>
          </p:cNvPicPr>
          <p:nvPr>
            <p:custDataLst>
              <p:tags r:id="rId3"/>
            </p:custDataLst>
          </p:nvPr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0" name="Logo_KTF_neg." hidden="1">
            <a:extLst>
              <a:ext uri="{FF2B5EF4-FFF2-40B4-BE49-F238E27FC236}">
                <a16:creationId xmlns:a16="http://schemas.microsoft.com/office/drawing/2014/main" id="{B5139A7A-2D4C-4228-B2B4-2B6CE472F1F4}"/>
              </a:ext>
            </a:extLst>
          </p:cNvPr>
          <p:cNvPicPr>
            <a:picLocks noMove="1" noResize="1"/>
          </p:cNvPicPr>
          <p:nvPr>
            <p:custDataLst>
              <p:tags r:id="rId4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1" name="Logo_MEF_neg." hidden="1">
            <a:extLst>
              <a:ext uri="{FF2B5EF4-FFF2-40B4-BE49-F238E27FC236}">
                <a16:creationId xmlns:a16="http://schemas.microsoft.com/office/drawing/2014/main" id="{55F0D3CF-265C-41E7-BACD-DD5C4FAE1153}"/>
              </a:ext>
            </a:extLst>
          </p:cNvPr>
          <p:cNvPicPr>
            <a:picLocks noMove="1" noResize="1"/>
          </p:cNvPicPr>
          <p:nvPr>
            <p:custDataLst>
              <p:tags r:id="rId5"/>
            </p:custDataLst>
          </p:nvPr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2" name="Logo_MNTF_neg." hidden="1">
            <a:extLst>
              <a:ext uri="{FF2B5EF4-FFF2-40B4-BE49-F238E27FC236}">
                <a16:creationId xmlns:a16="http://schemas.microsoft.com/office/drawing/2014/main" id="{3DB813F1-08BC-419B-96DE-1427CB94CB70}"/>
              </a:ext>
            </a:extLst>
          </p:cNvPr>
          <p:cNvPicPr>
            <a:picLocks noMove="1" noResize="1"/>
          </p:cNvPicPr>
          <p:nvPr>
            <p:custDataLst>
              <p:tags r:id="rId6"/>
            </p:custDataLst>
          </p:nvPr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3" name="Logo_PHF_neg." hidden="1">
            <a:extLst>
              <a:ext uri="{FF2B5EF4-FFF2-40B4-BE49-F238E27FC236}">
                <a16:creationId xmlns:a16="http://schemas.microsoft.com/office/drawing/2014/main" id="{BFBCDFB9-BE0F-4B2A-A497-02D0E689D70B}"/>
              </a:ext>
            </a:extLst>
          </p:cNvPr>
          <p:cNvPicPr>
            <a:picLocks noMove="1" noResize="1"/>
          </p:cNvPicPr>
          <p:nvPr>
            <p:custDataLst>
              <p:tags r:id="rId7"/>
            </p:custDataLst>
          </p:nvPr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4" name="Logo_PSF_neg." hidden="1">
            <a:extLst>
              <a:ext uri="{FF2B5EF4-FFF2-40B4-BE49-F238E27FC236}">
                <a16:creationId xmlns:a16="http://schemas.microsoft.com/office/drawing/2014/main" id="{FFE953D3-9550-4A2C-B746-4B1048924FD3}"/>
              </a:ext>
            </a:extLst>
          </p:cNvPr>
          <p:cNvPicPr>
            <a:picLocks noMove="1" noResize="1"/>
          </p:cNvPicPr>
          <p:nvPr>
            <p:custDataLst>
              <p:tags r:id="rId8"/>
            </p:custDataLst>
          </p:nvPr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pic>
        <p:nvPicPr>
          <p:cNvPr id="25" name="Logo_WWF_neg." hidden="1">
            <a:extLst>
              <a:ext uri="{FF2B5EF4-FFF2-40B4-BE49-F238E27FC236}">
                <a16:creationId xmlns:a16="http://schemas.microsoft.com/office/drawing/2014/main" id="{89966D50-F8F5-49CB-9C67-0C5372D0EB77}"/>
              </a:ext>
            </a:extLst>
          </p:cNvPr>
          <p:cNvPicPr>
            <a:picLocks noMove="1" noResize="1"/>
          </p:cNvPicPr>
          <p:nvPr>
            <p:custDataLst>
              <p:tags r:id="rId9"/>
            </p:custDataLst>
          </p:nvPr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5802425" y="834469"/>
            <a:ext cx="3819144" cy="682752"/>
          </a:xfrm>
          <a:prstGeom prst="rect">
            <a:avLst/>
          </a:prstGeom>
        </p:spPr>
      </p:pic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41F3319-4AF2-44B7-842D-D529686FA1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</p:spTree>
    <p:extLst>
      <p:ext uri="{BB962C8B-B14F-4D97-AF65-F5344CB8AC3E}">
        <p14:creationId xmlns:p14="http://schemas.microsoft.com/office/powerpoint/2010/main" val="36999117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21">
            <a:extLst>
              <a:ext uri="{FF2B5EF4-FFF2-40B4-BE49-F238E27FC236}">
                <a16:creationId xmlns:a16="http://schemas.microsoft.com/office/drawing/2014/main" id="{98CB81AB-5C11-474E-9DBE-27ADC0274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etuer</a:t>
            </a:r>
            <a:r>
              <a:rPr lang="de-DE" dirty="0"/>
              <a:t> </a:t>
            </a:r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9BDEAEEF-B3AF-4E25-860D-E6E06271F7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</a:p>
          <a:p>
            <a:pPr lvl="2"/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</a:t>
            </a:r>
          </a:p>
          <a:p>
            <a:pPr lvl="3"/>
            <a:r>
              <a:rPr lang="de-DE" dirty="0"/>
              <a:t>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 </a:t>
            </a:r>
          </a:p>
          <a:p>
            <a:pPr lvl="3"/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</a:p>
          <a:p>
            <a:pPr lvl="4"/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  <a:r>
              <a:rPr lang="de-DE" dirty="0" err="1"/>
              <a:t>varius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. </a:t>
            </a:r>
          </a:p>
        </p:txBody>
      </p:sp>
      <p:sp>
        <p:nvSpPr>
          <p:cNvPr id="24" name="Untertitel 23">
            <a:extLst>
              <a:ext uri="{FF2B5EF4-FFF2-40B4-BE49-F238E27FC236}">
                <a16:creationId xmlns:a16="http://schemas.microsoft.com/office/drawing/2014/main" id="{F65F93D2-35C1-4ADE-B87C-E94BB26067B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endParaRPr lang="de-DE" dirty="0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7951D854-978C-4F36-BC3F-C8EBCBFA025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4A14DD86-4869-4C96-801B-0303D7FB1D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D7BF9F3A-AD92-4A00-92B9-88DA39D550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454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57C3313E-1053-4D51-B57C-564327D30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D4077064-04AA-42A4-8F61-A9D6A9ACC7C3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endParaRPr lang="de-DE" dirty="0"/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DCE09689-2260-4D03-A6BA-63B53D0DE19E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06EEED7-0915-4F6F-AAE4-1CDA9FBDA9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CAD51CC-B2DE-48BC-B610-8AE9DC5D63F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0DF9BD2-9228-4AFC-9AA0-CDFD572D97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4</a:t>
            </a:fld>
            <a:endParaRPr lang="de-DE" dirty="0"/>
          </a:p>
        </p:txBody>
      </p:sp>
      <p:graphicFrame>
        <p:nvGraphicFramePr>
          <p:cNvPr id="16" name="Inhaltsplatzhalter 28">
            <a:extLst>
              <a:ext uri="{FF2B5EF4-FFF2-40B4-BE49-F238E27FC236}">
                <a16:creationId xmlns:a16="http://schemas.microsoft.com/office/drawing/2014/main" id="{7253E356-CCF8-4D12-B757-A6A41303D849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131405560"/>
              </p:ext>
            </p:extLst>
          </p:nvPr>
        </p:nvGraphicFramePr>
        <p:xfrm>
          <a:off x="6278563" y="1673225"/>
          <a:ext cx="5194300" cy="4645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217150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A6A01C1A-A880-4121-8B71-A3506CB1DB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etuer</a:t>
            </a:r>
            <a:r>
              <a:rPr lang="de-DE" dirty="0"/>
              <a:t> </a:t>
            </a: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10A0DB39-05FF-4DB7-9020-1E55B23E940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5AFF3B7-5029-4706-9185-89DEF9B72F5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55A5C1-F62C-4F6F-ACD1-77FB72A896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C9D2450-CA3C-43D0-8336-EC5977087A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51C82C1C-6735-4D54-AABB-A5DD87E2DE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</a:t>
            </a:r>
          </a:p>
        </p:txBody>
      </p:sp>
      <p:graphicFrame>
        <p:nvGraphicFramePr>
          <p:cNvPr id="29" name="Inhaltsplatzhalter 28">
            <a:extLst>
              <a:ext uri="{FF2B5EF4-FFF2-40B4-BE49-F238E27FC236}">
                <a16:creationId xmlns:a16="http://schemas.microsoft.com/office/drawing/2014/main" id="{4F8146FE-703C-46C2-B5E2-47A9260A430E}"/>
              </a:ext>
            </a:extLst>
          </p:cNvPr>
          <p:cNvGraphicFramePr>
            <a:graphicFrameLocks noGrp="1"/>
          </p:cNvGraphicFramePr>
          <p:nvPr>
            <p:ph idx="18"/>
            <p:extLst>
              <p:ext uri="{D42A27DB-BD31-4B8C-83A1-F6EECF244321}">
                <p14:modId xmlns:p14="http://schemas.microsoft.com/office/powerpoint/2010/main" val="3232750813"/>
              </p:ext>
            </p:extLst>
          </p:nvPr>
        </p:nvGraphicFramePr>
        <p:xfrm>
          <a:off x="8129588" y="1673225"/>
          <a:ext cx="3343275" cy="4645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2" name="Inhaltsplatzhalter 28">
            <a:extLst>
              <a:ext uri="{FF2B5EF4-FFF2-40B4-BE49-F238E27FC236}">
                <a16:creationId xmlns:a16="http://schemas.microsoft.com/office/drawing/2014/main" id="{907CACE0-79AE-4B16-9BBF-14938A944B36}"/>
              </a:ext>
            </a:extLst>
          </p:cNvPr>
          <p:cNvGraphicFramePr>
            <a:graphicFrameLocks noGrp="1"/>
          </p:cNvGraphicFramePr>
          <p:nvPr>
            <p:ph idx="17"/>
            <p:extLst>
              <p:ext uri="{D42A27DB-BD31-4B8C-83A1-F6EECF244321}">
                <p14:modId xmlns:p14="http://schemas.microsoft.com/office/powerpoint/2010/main" val="3328993975"/>
              </p:ext>
            </p:extLst>
          </p:nvPr>
        </p:nvGraphicFramePr>
        <p:xfrm>
          <a:off x="4424363" y="1673225"/>
          <a:ext cx="3344862" cy="4645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388974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50B20AC1-926A-4380-BEF7-F420173A92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etuer</a:t>
            </a:r>
            <a:r>
              <a:rPr lang="de-DE" dirty="0"/>
              <a:t> 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8497C972-2605-4F0F-B09B-C6CF971FBC5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1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ante, </a:t>
            </a:r>
            <a:r>
              <a:rPr lang="de-DE" dirty="0" err="1"/>
              <a:t>dapibus</a:t>
            </a:r>
            <a:r>
              <a:rPr lang="de-DE" dirty="0"/>
              <a:t> in,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feugiat</a:t>
            </a:r>
            <a:r>
              <a:rPr lang="de-DE" dirty="0"/>
              <a:t> a, </a:t>
            </a:r>
            <a:r>
              <a:rPr lang="de-DE" dirty="0" err="1"/>
              <a:t>tellus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  <a:r>
              <a:rPr lang="de-DE" dirty="0" err="1"/>
              <a:t>varius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. </a:t>
            </a:r>
            <a:r>
              <a:rPr lang="de-DE" dirty="0" err="1"/>
              <a:t>Quisque</a:t>
            </a:r>
            <a:r>
              <a:rPr lang="de-DE" dirty="0"/>
              <a:t> </a:t>
            </a:r>
            <a:r>
              <a:rPr lang="de-DE" dirty="0" err="1"/>
              <a:t>rutrum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imperdiet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nisi </a:t>
            </a:r>
            <a:r>
              <a:rPr lang="de-DE" dirty="0" err="1"/>
              <a:t>vel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. </a:t>
            </a:r>
            <a:r>
              <a:rPr lang="de-DE" dirty="0" err="1"/>
              <a:t>Curabitur</a:t>
            </a:r>
            <a:r>
              <a:rPr lang="de-DE" dirty="0"/>
              <a:t> </a:t>
            </a:r>
            <a:r>
              <a:rPr lang="de-DE" dirty="0" err="1"/>
              <a:t>ullamcorper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nisi. Nam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ui</a:t>
            </a:r>
            <a:r>
              <a:rPr lang="de-DE" dirty="0"/>
              <a:t>. </a:t>
            </a:r>
          </a:p>
          <a:p>
            <a:pPr lvl="1"/>
            <a:endParaRPr lang="de-DE" dirty="0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CD0AF4AC-BC6E-4AA2-BC43-D385C69CE358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lvl="1"/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  <a:r>
              <a:rPr lang="de-DE" dirty="0" err="1"/>
              <a:t>varius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. </a:t>
            </a:r>
            <a:r>
              <a:rPr lang="de-DE" dirty="0" err="1"/>
              <a:t>Quisque</a:t>
            </a:r>
            <a:r>
              <a:rPr lang="de-DE" dirty="0"/>
              <a:t> </a:t>
            </a:r>
            <a:r>
              <a:rPr lang="de-DE" dirty="0" err="1"/>
              <a:t>rutrum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imperdiet</a:t>
            </a:r>
            <a:r>
              <a:rPr lang="de-DE" dirty="0"/>
              <a:t>. </a:t>
            </a:r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nisi </a:t>
            </a:r>
            <a:r>
              <a:rPr lang="de-DE" dirty="0" err="1"/>
              <a:t>vel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. </a:t>
            </a:r>
            <a:r>
              <a:rPr lang="de-DE" dirty="0" err="1"/>
              <a:t>Curabitur</a:t>
            </a:r>
            <a:r>
              <a:rPr lang="de-DE" dirty="0"/>
              <a:t> </a:t>
            </a:r>
            <a:r>
              <a:rPr lang="de-DE" dirty="0" err="1"/>
              <a:t>ullamcorper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nisi. </a:t>
            </a:r>
          </a:p>
          <a:p>
            <a:pPr lvl="1"/>
            <a:r>
              <a:rPr lang="de-DE" dirty="0"/>
              <a:t>Nam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ui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rhoncus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Maecenas </a:t>
            </a:r>
            <a:r>
              <a:rPr lang="de-DE" dirty="0" err="1"/>
              <a:t>tempus</a:t>
            </a:r>
            <a:r>
              <a:rPr lang="de-DE" dirty="0"/>
              <a:t>, </a:t>
            </a:r>
            <a:r>
              <a:rPr lang="de-DE" dirty="0" err="1"/>
              <a:t>tellus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condimentum</a:t>
            </a:r>
            <a:r>
              <a:rPr lang="de-DE" dirty="0"/>
              <a:t> </a:t>
            </a:r>
            <a:r>
              <a:rPr lang="de-DE" dirty="0" err="1"/>
              <a:t>rhoncu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 quam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.</a:t>
            </a:r>
          </a:p>
          <a:p>
            <a:pPr lvl="1"/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sem</a:t>
            </a:r>
            <a:r>
              <a:rPr lang="de-DE" dirty="0"/>
              <a:t> </a:t>
            </a:r>
            <a:r>
              <a:rPr lang="de-DE" dirty="0" err="1"/>
              <a:t>neque</a:t>
            </a:r>
            <a:r>
              <a:rPr lang="de-DE" dirty="0"/>
              <a:t> sed </a:t>
            </a:r>
            <a:r>
              <a:rPr lang="de-DE" dirty="0" err="1"/>
              <a:t>ipsum</a:t>
            </a:r>
            <a:r>
              <a:rPr lang="de-DE" dirty="0"/>
              <a:t>. </a:t>
            </a:r>
          </a:p>
          <a:p>
            <a:pPr lvl="1"/>
            <a:endParaRPr lang="de-DE" dirty="0"/>
          </a:p>
        </p:txBody>
      </p:sp>
      <p:sp>
        <p:nvSpPr>
          <p:cNvPr id="14" name="Untertitel 13">
            <a:extLst>
              <a:ext uri="{FF2B5EF4-FFF2-40B4-BE49-F238E27FC236}">
                <a16:creationId xmlns:a16="http://schemas.microsoft.com/office/drawing/2014/main" id="{5ACC4AFA-4760-4E04-AF87-E283587EE29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EE6E888-BF37-4E4A-B8C8-4261A59B7D9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3070190-BD5B-409F-801A-56A642C9994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B4E7B85E-9FD9-40F3-8479-353ECAB4B1E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70384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E9F425-4F07-40EA-B324-625992A32E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etuer</a:t>
            </a:r>
            <a:r>
              <a:rPr lang="de-DE" dirty="0"/>
              <a:t>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D8A5042-AA33-445E-926F-8201231F545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etuer</a:t>
            </a:r>
            <a:r>
              <a:rPr lang="de-DE" dirty="0"/>
              <a:t> 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55EC189-4B37-4D11-AAF1-989394FB5AA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3FD8C09C-68D7-4435-AB8F-2C1AACFC946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CDBE498-EE6A-4186-9435-7190064089A1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0F3283F-431B-4A59-BA82-3FD45E37932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76C713B-97D5-461C-B4B8-4A8904FB412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0D51CB3-4D18-4D32-BB42-A779590717E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etuer</a:t>
            </a:r>
            <a:r>
              <a:rPr lang="de-DE" dirty="0"/>
              <a:t> 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F54AAF0-1FBC-4DDF-BFCB-3D9ABEB2CA3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513761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379999B8-59A7-49EF-8F8E-0C7F3F061A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etuer</a:t>
            </a:r>
            <a:r>
              <a:rPr lang="de-DE" dirty="0"/>
              <a:t> 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3171D64-8DBD-4B52-8716-A11BDCD2A2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B1111386-C5DE-44F9-BEC4-ED4157F07C1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</a:t>
            </a:r>
          </a:p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</a:p>
          <a:p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</a:p>
        </p:txBody>
      </p:sp>
      <p:sp>
        <p:nvSpPr>
          <p:cNvPr id="12" name="Untertitel 11">
            <a:extLst>
              <a:ext uri="{FF2B5EF4-FFF2-40B4-BE49-F238E27FC236}">
                <a16:creationId xmlns:a16="http://schemas.microsoft.com/office/drawing/2014/main" id="{0955BC0B-12E8-47DE-809A-6ACFB0AF558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 </a:t>
            </a:r>
            <a:r>
              <a:rPr lang="de-DE" dirty="0" err="1"/>
              <a:t>sapien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1324523-B01A-4C3D-9440-6A7CACA074A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0C02055-69B7-4B68-AD4C-4B055A52AF9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46289AC-B262-4509-9D9F-C0A9EFACEA8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8A94DED-CCDF-4BEF-9648-0A6FA9C2B48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DF71F42-752A-439B-8F49-BC01BB654B9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11877247-65F5-47AC-87C3-71C752D04EB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753E77FA-8062-4698-AACC-27FB336FB6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04315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4B144038-B7EE-4990-9169-01133A0BA8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etuer</a:t>
            </a:r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9E1B85EB-6DA2-4EEC-9B99-6D89E0441AB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3104622-A8B7-4384-8DBA-832778D991B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</a:p>
          <a:p>
            <a:pPr lvl="4"/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</a:p>
          <a:p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</a:t>
            </a:r>
          </a:p>
        </p:txBody>
      </p:sp>
      <p:sp>
        <p:nvSpPr>
          <p:cNvPr id="14" name="Untertitel 13">
            <a:extLst>
              <a:ext uri="{FF2B5EF4-FFF2-40B4-BE49-F238E27FC236}">
                <a16:creationId xmlns:a16="http://schemas.microsoft.com/office/drawing/2014/main" id="{06BB5184-94F8-4CE9-9A52-0B64763AC22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549AC58-D027-4EB8-832E-17F87D7BFB6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|    15.02.2019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E1AAAB0-B8E4-418E-96A9-AD334E3C0B7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|    Fußzeile Universität Augsburg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D21FC03-328C-40B6-A0B1-256361FACC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567D7EC-8799-48C5-898A-08E264972062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1C9E526-2DDB-406B-BA38-185F7162E97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it-IT" dirty="0"/>
              <a:t>Nulla </a:t>
            </a:r>
            <a:r>
              <a:rPr lang="it-IT" dirty="0" err="1"/>
              <a:t>consequat</a:t>
            </a:r>
            <a:r>
              <a:rPr lang="it-IT" dirty="0"/>
              <a:t> massa </a:t>
            </a:r>
            <a:br>
              <a:rPr lang="it-IT" dirty="0"/>
            </a:br>
            <a:r>
              <a:rPr lang="it-IT" dirty="0" err="1"/>
              <a:t>quis</a:t>
            </a:r>
            <a:r>
              <a:rPr lang="it-IT" dirty="0"/>
              <a:t> </a:t>
            </a:r>
            <a:r>
              <a:rPr lang="it-IT" dirty="0" err="1"/>
              <a:t>enim</a:t>
            </a:r>
            <a:endParaRPr lang="de-DE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293F0063-2443-435B-8C6C-6B317999413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pPr lvl="1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73F2071F-30E0-4DD5-93B5-07811AA6C14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1A75FBE8-ADBC-47FA-A906-078861588A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pPr lvl="4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endParaRPr lang="de-DE" dirty="0"/>
          </a:p>
          <a:p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</a:t>
            </a:r>
          </a:p>
          <a:p>
            <a:r>
              <a:rPr lang="de-DE" dirty="0"/>
              <a:t>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1AD4A4F-DBD0-46D7-B7B5-4E09493001E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pt-BR" dirty="0"/>
              <a:t>Pellentesque eu pretium quis sem Nulla consequat</a:t>
            </a:r>
            <a:endParaRPr lang="de-DE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9BE9A49-A358-4AF6-81CF-796B0443D72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pPr lvl="1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</a:p>
          <a:p>
            <a:pPr lvl="1"/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10453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agenda name=&quot;Guidelines&quot; title=&quot;Guideline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3"/>
</p:tagLst>
</file>

<file path=ppt/theme/theme1.xml><?xml version="1.0" encoding="utf-8"?>
<a:theme xmlns:a="http://schemas.openxmlformats.org/drawingml/2006/main" name="Office">
  <a:themeElements>
    <a:clrScheme name="Fakultät für Angewandte Informatik">
      <a:dk1>
        <a:sysClr val="windowText" lastClr="000000"/>
      </a:dk1>
      <a:lt1>
        <a:sysClr val="window" lastClr="FFFFFF"/>
      </a:lt1>
      <a:dk2>
        <a:srgbClr val="489324"/>
      </a:dk2>
      <a:lt2>
        <a:srgbClr val="FFFFFF"/>
      </a:lt2>
      <a:accent1>
        <a:srgbClr val="505050"/>
      </a:accent1>
      <a:accent2>
        <a:srgbClr val="969696"/>
      </a:accent2>
      <a:accent3>
        <a:srgbClr val="C8C8C8"/>
      </a:accent3>
      <a:accent4>
        <a:srgbClr val="505050"/>
      </a:accent4>
      <a:accent5>
        <a:srgbClr val="969696"/>
      </a:accent5>
      <a:accent6>
        <a:srgbClr val="C8C8C8"/>
      </a:accent6>
      <a:hlink>
        <a:srgbClr val="000000"/>
      </a:hlink>
      <a:folHlink>
        <a:srgbClr val="061D28"/>
      </a:folHlink>
    </a:clrScheme>
    <a:fontScheme name="UA_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inrichtungen, Kommunikation">
        <a:dk1>
          <a:sysClr val="windowText" lastClr="000000"/>
        </a:dk1>
        <a:lt1>
          <a:sysClr val="window" lastClr="FFFFFF"/>
        </a:lt1>
        <a:dk2>
          <a:srgbClr val="AD007C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Katholisch-Theologische Fakultät">
        <a:dk1>
          <a:sysClr val="windowText" lastClr="000000"/>
        </a:dk1>
        <a:lt1>
          <a:sysClr val="window" lastClr="FFFFFF"/>
        </a:lt1>
        <a:dk2>
          <a:srgbClr val="F6A800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sophisch-Sozialwissenschaftliche Fakultät">
        <a:dk1>
          <a:sysClr val="windowText" lastClr="000000"/>
        </a:dk1>
        <a:lt1>
          <a:sysClr val="window" lastClr="FFFFFF"/>
        </a:lt1>
        <a:dk2>
          <a:srgbClr val="EB690B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Philologisch-Historische Fakultät">
        <a:dk1>
          <a:sysClr val="windowText" lastClr="000000"/>
        </a:dk1>
        <a:lt1>
          <a:sysClr val="window" lastClr="FFFFFF"/>
        </a:lt1>
        <a:dk2>
          <a:srgbClr val="D4002D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Wirtschaftswissenschaftliche Fakultät">
        <a:dk1>
          <a:sysClr val="windowText" lastClr="000000"/>
        </a:dk1>
        <a:lt1>
          <a:sysClr val="window" lastClr="FFFFFF"/>
        </a:lt1>
        <a:dk2>
          <a:srgbClr val="00AECF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Juristische Fakultät">
        <a:dk1>
          <a:sysClr val="windowText" lastClr="000000"/>
        </a:dk1>
        <a:lt1>
          <a:sysClr val="window" lastClr="FFFFFF"/>
        </a:lt1>
        <a:dk2>
          <a:srgbClr val="0087C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edizinische Fakultät">
        <a:dk1>
          <a:sysClr val="windowText" lastClr="000000"/>
        </a:dk1>
        <a:lt1>
          <a:sysClr val="window" lastClr="FFFFFF"/>
        </a:lt1>
        <a:dk2>
          <a:srgbClr val="15558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Fakultät für Angewandte Informatik">
        <a:dk1>
          <a:sysClr val="windowText" lastClr="000000"/>
        </a:dk1>
        <a:lt1>
          <a:sysClr val="window" lastClr="FFFFFF"/>
        </a:lt1>
        <a:dk2>
          <a:srgbClr val="489324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Mathematisch-Naturwissenschaftliche Fakultät">
        <a:dk1>
          <a:sysClr val="windowText" lastClr="000000"/>
        </a:dk1>
        <a:lt1>
          <a:sysClr val="window" lastClr="FFFFFF"/>
        </a:lt1>
        <a:dk2>
          <a:srgbClr val="006561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  <a:extraClrScheme>
      <a:clrScheme name="Universitätsleitung, gesamtuniversitär">
        <a:dk1>
          <a:sysClr val="windowText" lastClr="000000"/>
        </a:dk1>
        <a:lt1>
          <a:sysClr val="window" lastClr="FFFFFF"/>
        </a:lt1>
        <a:dk2>
          <a:srgbClr val="B3B3B3"/>
        </a:dk2>
        <a:lt2>
          <a:srgbClr val="FFFFFF"/>
        </a:lt2>
        <a:accent1>
          <a:srgbClr val="505050"/>
        </a:accent1>
        <a:accent2>
          <a:srgbClr val="969696"/>
        </a:accent2>
        <a:accent3>
          <a:srgbClr val="C8C8C8"/>
        </a:accent3>
        <a:accent4>
          <a:srgbClr val="505050"/>
        </a:accent4>
        <a:accent5>
          <a:srgbClr val="969696"/>
        </a:accent5>
        <a:accent6>
          <a:srgbClr val="C8C8C8"/>
        </a:accent6>
        <a:hlink>
          <a:srgbClr val="000000"/>
        </a:hlink>
        <a:folHlink>
          <a:srgbClr val="061D28"/>
        </a:folHlink>
      </a:clrScheme>
    </a:extraClrScheme>
  </a:extraClrSchemeLst>
  <a:custClrLst>
    <a:custClr name="Einrichtungen, Kommunikation">
      <a:srgbClr val="AD007C"/>
    </a:custClr>
    <a:custClr name="Katholisch-Theologische Fakultät">
      <a:srgbClr val="F6A800"/>
    </a:custClr>
    <a:custClr name="Philosophisch-Sozialwissenschaftliche Fakultät">
      <a:srgbClr val="EB690B"/>
    </a:custClr>
    <a:custClr name="Philologisch-Historische Fakultät">
      <a:srgbClr val="D4002D"/>
    </a:custClr>
    <a:custClr name="Wirtschaftswissenschaftliche Fakultät">
      <a:srgbClr val="00AECF"/>
    </a:custClr>
    <a:custClr name="Juristische Fakultät">
      <a:srgbClr val="0087C1"/>
    </a:custClr>
    <a:custClr name="Medizinische Fakultät">
      <a:srgbClr val="155581"/>
    </a:custClr>
    <a:custClr name="Fakultät für Angewandte Informatik">
      <a:srgbClr val="489324"/>
    </a:custClr>
    <a:custClr name="Mathematisch-Naturwissenschaftliche Fakultät">
      <a:srgbClr val="006561"/>
    </a:custClr>
    <a:custClr name="Universitätsleitung, gesamtuniversitär">
      <a:srgbClr val="B3B3B3"/>
    </a:custClr>
  </a:custClrLst>
  <a:extLst>
    <a:ext uri="{05A4C25C-085E-4340-85A3-A5531E510DB2}">
      <thm15:themeFamily xmlns:thm15="http://schemas.microsoft.com/office/thememl/2012/main" name="Präsentation1" id="{ECDE5418-DEEB-47AF-863D-0C6C2A35824C}" vid="{402D3E7A-CAC9-424D-AAC4-92021549A3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rlage_Uni_FAI</Template>
  <TotalTime>0</TotalTime>
  <Words>1683</Words>
  <Application>Microsoft Office PowerPoint</Application>
  <PresentationFormat>Breitbild</PresentationFormat>
  <Paragraphs>172</Paragraphs>
  <Slides>24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29" baseType="lpstr">
      <vt:lpstr>Arial</vt:lpstr>
      <vt:lpstr>Arial Black</vt:lpstr>
      <vt:lpstr>Symbol</vt:lpstr>
      <vt:lpstr>Wingdings</vt:lpstr>
      <vt:lpstr>Office</vt:lpstr>
      <vt:lpstr>Hackerethik</vt:lpstr>
      <vt:lpstr>Agenda</vt:lpstr>
      <vt:lpstr>Lorem ipsum dolor sit amet consectetuer </vt:lpstr>
      <vt:lpstr>Lorem ipsum dolor sit amet, consectetuer </vt:lpstr>
      <vt:lpstr>Lorem ipsum dolor sit amet consectetuer </vt:lpstr>
      <vt:lpstr>Lorem ipsum dolor sit amet consectetuer </vt:lpstr>
      <vt:lpstr>Lorem ipsum dolor sit amet consectetuer </vt:lpstr>
      <vt:lpstr>Lorem ipsum dolor sit amet consectetuer </vt:lpstr>
      <vt:lpstr>Lorem ipsum dolor sit amet consectetuer </vt:lpstr>
      <vt:lpstr>Lorem ipsum dolor sit amet consectetuer </vt:lpstr>
      <vt:lpstr>Lorem ipsum dolor sit amet consectetuer </vt:lpstr>
      <vt:lpstr>Lorem ipsum dolor sit amet consectetuer </vt:lpstr>
      <vt:lpstr>Lorem ipsum dolor sit amet consectetuer </vt:lpstr>
      <vt:lpstr>Lorem ipsum dolor sit amet consectetuer </vt:lpstr>
      <vt:lpstr>Lorem ipsum dolor sit amet consectetuer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ein- oder mehrzeilig</dc:title>
  <dc:creator>Frantz Niklas Prochaska</dc:creator>
  <cp:lastModifiedBy>Frantz Niklas Prochaska</cp:lastModifiedBy>
  <cp:revision>2</cp:revision>
  <dcterms:created xsi:type="dcterms:W3CDTF">2022-01-13T19:30:38Z</dcterms:created>
  <dcterms:modified xsi:type="dcterms:W3CDTF">2022-01-13T19:47:00Z</dcterms:modified>
</cp:coreProperties>
</file>